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4" r:id="rId5"/>
  </p:sldIdLst>
  <p:sldSz cx="6858000" cy="9906000" type="A4"/>
  <p:notesSz cx="6797675" cy="9926638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D10569B-5C4C-4987-B574-685406418F89}">
          <p14:sldIdLst>
            <p14:sldId id="27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orient="horz" pos="4005" userDrawn="1">
          <p15:clr>
            <a:srgbClr val="A4A3A4"/>
          </p15:clr>
        </p15:guide>
        <p15:guide id="3" orient="horz" pos="705" userDrawn="1">
          <p15:clr>
            <a:srgbClr val="A4A3A4"/>
          </p15:clr>
        </p15:guide>
        <p15:guide id="4" orient="horz" pos="946">
          <p15:clr>
            <a:srgbClr val="A4A3A4"/>
          </p15:clr>
        </p15:guide>
        <p15:guide id="5" orient="horz" pos="242">
          <p15:clr>
            <a:srgbClr val="A4A3A4"/>
          </p15:clr>
        </p15:guide>
        <p15:guide id="6" orient="horz" pos="2757" userDrawn="1">
          <p15:clr>
            <a:srgbClr val="A4A3A4"/>
          </p15:clr>
        </p15:guide>
        <p15:guide id="7" pos="346" userDrawn="1">
          <p15:clr>
            <a:srgbClr val="A4A3A4"/>
          </p15:clr>
        </p15:guide>
        <p15:guide id="8" pos="7341" userDrawn="1">
          <p15:clr>
            <a:srgbClr val="A4A3A4"/>
          </p15:clr>
        </p15:guide>
        <p15:guide id="9" pos="6326">
          <p15:clr>
            <a:srgbClr val="A4A3A4"/>
          </p15:clr>
        </p15:guide>
        <p15:guide id="10" pos="3751">
          <p15:clr>
            <a:srgbClr val="A4A3A4"/>
          </p15:clr>
        </p15:guide>
        <p15:guide id="11" pos="3933">
          <p15:clr>
            <a:srgbClr val="A4A3A4"/>
          </p15:clr>
        </p15:guide>
        <p15:guide id="12" orient="horz" pos="3480">
          <p15:clr>
            <a:srgbClr val="A4A3A4"/>
          </p15:clr>
        </p15:guide>
        <p15:guide id="13" orient="horz" pos="5773">
          <p15:clr>
            <a:srgbClr val="A4A3A4"/>
          </p15:clr>
        </p15:guide>
        <p15:guide id="14" orient="horz" pos="1018">
          <p15:clr>
            <a:srgbClr val="A4A3A4"/>
          </p15:clr>
        </p15:guide>
        <p15:guide id="15" orient="horz" pos="1366">
          <p15:clr>
            <a:srgbClr val="A4A3A4"/>
          </p15:clr>
        </p15:guide>
        <p15:guide id="16" orient="horz" pos="350">
          <p15:clr>
            <a:srgbClr val="A4A3A4"/>
          </p15:clr>
        </p15:guide>
        <p15:guide id="17" orient="horz" pos="3709">
          <p15:clr>
            <a:srgbClr val="A4A3A4"/>
          </p15:clr>
        </p15:guide>
        <p15:guide id="18" pos="189">
          <p15:clr>
            <a:srgbClr val="A4A3A4"/>
          </p15:clr>
        </p15:guide>
        <p15:guide id="19" pos="4127">
          <p15:clr>
            <a:srgbClr val="A4A3A4"/>
          </p15:clr>
        </p15:guide>
        <p15:guide id="20" pos="3566" userDrawn="1">
          <p15:clr>
            <a:srgbClr val="A4A3A4"/>
          </p15:clr>
        </p15:guide>
        <p15:guide id="21" pos="2109">
          <p15:clr>
            <a:srgbClr val="A4A3A4"/>
          </p15:clr>
        </p15:guide>
        <p15:guide id="22" pos="2211">
          <p15:clr>
            <a:srgbClr val="A4A3A4"/>
          </p15:clr>
        </p15:guide>
        <p15:guide id="23" orient="horz" pos="3447">
          <p15:clr>
            <a:srgbClr val="A4A3A4"/>
          </p15:clr>
        </p15:guide>
        <p15:guide id="24" orient="horz" pos="4932">
          <p15:clr>
            <a:srgbClr val="A4A3A4"/>
          </p15:clr>
        </p15:guide>
        <p15:guide id="25" orient="horz" pos="3026">
          <p15:clr>
            <a:srgbClr val="A4A3A4"/>
          </p15:clr>
        </p15:guide>
        <p15:guide id="26" orient="horz" pos="1431">
          <p15:clr>
            <a:srgbClr val="A4A3A4"/>
          </p15:clr>
        </p15:guide>
        <p15:guide id="27" orient="horz" pos="5114">
          <p15:clr>
            <a:srgbClr val="A4A3A4"/>
          </p15:clr>
        </p15:guide>
        <p15:guide id="28" pos="233">
          <p15:clr>
            <a:srgbClr val="A4A3A4"/>
          </p15:clr>
        </p15:guide>
        <p15:guide id="29" pos="203">
          <p15:clr>
            <a:srgbClr val="A4A3A4"/>
          </p15:clr>
        </p15:guide>
        <p15:guide id="30" pos="2054">
          <p15:clr>
            <a:srgbClr val="A4A3A4"/>
          </p15:clr>
        </p15:guide>
        <p15:guide id="31" pos="2273">
          <p15:clr>
            <a:srgbClr val="A4A3A4"/>
          </p15:clr>
        </p15:guide>
        <p15:guide id="32" pos="26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7D7D"/>
    <a:srgbClr val="646569"/>
    <a:srgbClr val="5C5C5C"/>
    <a:srgbClr val="F1E9D3"/>
    <a:srgbClr val="F1E8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C8E9D0-7F60-4680-9184-86FC0ED0C7F9}" v="59" dt="2025-07-01T14:13:44.415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73" autoAdjust="0"/>
  </p:normalViewPr>
  <p:slideViewPr>
    <p:cSldViewPr snapToGrid="0" snapToObjects="1" showGuides="1">
      <p:cViewPr>
        <p:scale>
          <a:sx n="112" d="100"/>
          <a:sy n="112" d="100"/>
        </p:scale>
        <p:origin x="1686" y="-894"/>
      </p:cViewPr>
      <p:guideLst>
        <p:guide orient="horz" pos="2409"/>
        <p:guide orient="horz" pos="4005"/>
        <p:guide orient="horz" pos="705"/>
        <p:guide orient="horz" pos="946"/>
        <p:guide orient="horz" pos="242"/>
        <p:guide orient="horz" pos="2757"/>
        <p:guide pos="346"/>
        <p:guide pos="7341"/>
        <p:guide pos="6326"/>
        <p:guide pos="3751"/>
        <p:guide pos="3933"/>
        <p:guide orient="horz" pos="3480"/>
        <p:guide orient="horz" pos="5773"/>
        <p:guide orient="horz" pos="1018"/>
        <p:guide orient="horz" pos="1366"/>
        <p:guide orient="horz" pos="350"/>
        <p:guide orient="horz" pos="3709"/>
        <p:guide pos="189"/>
        <p:guide pos="4127"/>
        <p:guide pos="3566"/>
        <p:guide pos="2109"/>
        <p:guide pos="2211"/>
        <p:guide orient="horz" pos="3447"/>
        <p:guide orient="horz" pos="4932"/>
        <p:guide orient="horz" pos="3026"/>
        <p:guide orient="horz" pos="1431"/>
        <p:guide orient="horz" pos="5114"/>
        <p:guide pos="233"/>
        <p:guide pos="203"/>
        <p:guide pos="2054"/>
        <p:guide pos="2273"/>
        <p:guide pos="261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25" d="100"/>
          <a:sy n="125" d="100"/>
        </p:scale>
        <p:origin x="-2312" y="764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A4E76-B9CA-490F-8C17-6346C6A9A5D0}" type="datetimeFigureOut">
              <a:rPr lang="en-US" smtClean="0">
                <a:solidFill>
                  <a:schemeClr val="tx2"/>
                </a:solidFill>
              </a:rPr>
              <a:t>7/1/2025</a:t>
            </a:fld>
            <a:endParaRPr lang="en-US">
              <a:solidFill>
                <a:schemeClr val="tx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86F662-5A85-4B61-B1FD-40773C786028}" type="slidenum">
              <a:rPr lang="en-US" smtClean="0">
                <a:solidFill>
                  <a:schemeClr val="tx2"/>
                </a:solidFill>
              </a:rPr>
              <a:t>‹Nr.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448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D6F9766-6760-40C4-9A1B-4E0E356FCC9C}" type="datetimeFigureOut">
              <a:rPr lang="en-US" smtClean="0"/>
              <a:pPr/>
              <a:t>7/1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882900" y="769938"/>
            <a:ext cx="1031875" cy="14938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53578" y="2541656"/>
            <a:ext cx="6090519" cy="66404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092E2EC-92F9-4A2D-8495-25089A039D8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566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1" kern="1200">
        <a:solidFill>
          <a:schemeClr val="accent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361950" indent="-184150" algn="l" defTabSz="914400" rtl="0" eaLnBrk="1" latinLnBrk="0" hangingPunct="1">
      <a:buClr>
        <a:schemeClr val="accent1"/>
      </a:buClr>
      <a:buFont typeface="Calibri" panose="020F0502020204030204" pitchFamily="34" charset="0"/>
      <a:buChar char="–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539750" indent="-177800" algn="l" defTabSz="914400" rtl="0" eaLnBrk="1" latinLnBrk="0" hangingPunct="1">
      <a:buClr>
        <a:schemeClr val="accent1"/>
      </a:buClr>
      <a:buFont typeface="Calibri" panose="020F0502020204030204" pitchFamily="34" charset="0"/>
      <a:buChar char="–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717550" indent="-177800" algn="l" defTabSz="914400" rtl="0" eaLnBrk="1" latinLnBrk="0" hangingPunct="1">
      <a:buClr>
        <a:schemeClr val="accent1"/>
      </a:buClr>
      <a:buFont typeface="Calibri" panose="020F0502020204030204" pitchFamily="34" charset="0"/>
      <a:buChar char="–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45882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6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858000" cy="6302400"/>
          </a:xfrm>
          <a:solidFill>
            <a:schemeClr val="accent6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Bildplatzhalter 42">
            <a:extLst>
              <a:ext uri="{FF2B5EF4-FFF2-40B4-BE49-F238E27FC236}">
                <a16:creationId xmlns:a16="http://schemas.microsoft.com/office/drawing/2014/main" id="{E41E093C-B7C8-4BAA-A690-E641DA7E1DB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499360" y="4380156"/>
            <a:ext cx="1994400" cy="720000"/>
          </a:xfrm>
          <a:solidFill>
            <a:schemeClr val="bg1"/>
          </a:solidFill>
          <a:ln>
            <a:noFill/>
          </a:ln>
        </p:spPr>
        <p:txBody>
          <a:bodyPr lIns="108000" tIns="72000" rIns="108000" bIns="72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117381" y="6630565"/>
            <a:ext cx="3749580" cy="1600439"/>
          </a:xfrm>
        </p:spPr>
        <p:txBody>
          <a:bodyPr anchor="b">
            <a:noAutofit/>
          </a:bodyPr>
          <a:lstStyle>
            <a:lvl1pPr>
              <a:defRPr sz="3600" b="1" cap="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117414" y="8350191"/>
            <a:ext cx="3118408" cy="276999"/>
          </a:xfr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Referent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17414" y="8820268"/>
            <a:ext cx="3447430" cy="400110"/>
          </a:xfrm>
        </p:spPr>
        <p:txBody>
          <a:bodyPr>
            <a:noAutofit/>
          </a:bodyPr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45" name="object 11"/>
          <p:cNvSpPr txBox="1"/>
          <p:nvPr userDrawn="1"/>
        </p:nvSpPr>
        <p:spPr bwMode="gray">
          <a:xfrm>
            <a:off x="4885472" y="9220444"/>
            <a:ext cx="93639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200" spc="-5" dirty="0">
                <a:solidFill>
                  <a:schemeClr val="tx2"/>
                </a:solidFill>
                <a:latin typeface="Calibri"/>
                <a:cs typeface="Calibri"/>
              </a:rPr>
              <a:t>Vertraulich</a:t>
            </a:r>
            <a:endParaRPr lang="de-DE" sz="12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grpSp>
        <p:nvGrpSpPr>
          <p:cNvPr id="32" name="Group 15"/>
          <p:cNvGrpSpPr>
            <a:grpSpLocks noChangeAspect="1"/>
          </p:cNvGrpSpPr>
          <p:nvPr userDrawn="1"/>
        </p:nvGrpSpPr>
        <p:grpSpPr bwMode="auto">
          <a:xfrm>
            <a:off x="4866961" y="8583896"/>
            <a:ext cx="1691484" cy="560193"/>
            <a:chOff x="2759" y="1800"/>
            <a:chExt cx="2171" cy="719"/>
          </a:xfrm>
        </p:grpSpPr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4" name="Freeform 17"/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21"/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1" name="Freeform 16"/>
          <p:cNvSpPr>
            <a:spLocks/>
          </p:cNvSpPr>
          <p:nvPr userDrawn="1"/>
        </p:nvSpPr>
        <p:spPr bwMode="auto">
          <a:xfrm rot="10800000">
            <a:off x="300037" y="8350190"/>
            <a:ext cx="702507" cy="758084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9745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0BD757E-14A6-4592-B5E1-47E21B5012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2428643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0BD757E-14A6-4592-B5E1-47E21B501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85316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542107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 userDrawn="1"/>
        </p:nvSpPr>
        <p:spPr>
          <a:xfrm>
            <a:off x="0" y="2169232"/>
            <a:ext cx="6858000" cy="7736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575085" y="6920231"/>
            <a:ext cx="5006598" cy="44456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000" b="1" baseline="0">
                <a:solidFill>
                  <a:schemeClr val="bg1"/>
                </a:solidFill>
              </a:defRPr>
            </a:lvl1pPr>
            <a:lvl2pPr>
              <a:defRPr sz="2000" b="0">
                <a:solidFill>
                  <a:schemeClr val="bg1"/>
                </a:solidFill>
              </a:defRPr>
            </a:lvl2pPr>
            <a:lvl3pPr>
              <a:defRPr sz="2000" b="0">
                <a:solidFill>
                  <a:schemeClr val="bg1"/>
                </a:solidFill>
              </a:defRPr>
            </a:lvl3pPr>
            <a:lvl4pPr>
              <a:defRPr sz="2000" b="0">
                <a:solidFill>
                  <a:schemeClr val="bg1"/>
                </a:solidFill>
              </a:defRPr>
            </a:lvl4pPr>
            <a:lvl5pPr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575084" y="5367753"/>
            <a:ext cx="5006599" cy="800219"/>
          </a:xfrm>
        </p:spPr>
        <p:txBody>
          <a:bodyPr wrap="square">
            <a:noAutofit/>
          </a:bodyPr>
          <a:lstStyle>
            <a:lvl1pPr>
              <a:spcAft>
                <a:spcPts val="0"/>
              </a:spcAft>
              <a:defRPr sz="36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Vielen Dank!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575085" y="7415389"/>
            <a:ext cx="5006598" cy="177826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2000" b="0" baseline="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Straße Hausnummer</a:t>
            </a:r>
            <a:br>
              <a:rPr lang="de-DE" dirty="0"/>
            </a:br>
            <a:r>
              <a:rPr lang="de-DE" dirty="0"/>
              <a:t>PLZ Ort</a:t>
            </a:r>
            <a:br>
              <a:rPr lang="de-DE" dirty="0"/>
            </a:br>
            <a:r>
              <a:rPr lang="de-DE" dirty="0"/>
              <a:t>Telefonnummer</a:t>
            </a:r>
            <a:br>
              <a:rPr lang="de-DE" dirty="0"/>
            </a:br>
            <a:r>
              <a:rPr lang="de-DE" dirty="0"/>
              <a:t>E-Mail Adresse</a:t>
            </a:r>
          </a:p>
        </p:txBody>
      </p:sp>
      <p:grpSp>
        <p:nvGrpSpPr>
          <p:cNvPr id="24" name="Group 15">
            <a:extLst>
              <a:ext uri="{FF2B5EF4-FFF2-40B4-BE49-F238E27FC236}">
                <a16:creationId xmlns:a16="http://schemas.microsoft.com/office/drawing/2014/main" id="{22D9DA31-682F-420B-A217-9D277D32EE8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40673" y="448555"/>
            <a:ext cx="1111253" cy="368029"/>
            <a:chOff x="2759" y="1800"/>
            <a:chExt cx="2171" cy="719"/>
          </a:xfrm>
        </p:grpSpPr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F64D1BC-242B-44F2-9037-F72A010CA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E7134DCA-27E3-4121-8ABC-82890F2670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E870D05-91D4-450C-AD1A-719112632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59ED6073-908F-4E0F-8534-92778C45E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BE5E708A-03D5-4C9F-825D-B75700030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CBC84521-E117-49D9-99C6-55FFED4B6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</p:grpSp>
      <p:sp>
        <p:nvSpPr>
          <p:cNvPr id="31" name="Freeform 16">
            <a:extLst>
              <a:ext uri="{FF2B5EF4-FFF2-40B4-BE49-F238E27FC236}">
                <a16:creationId xmlns:a16="http://schemas.microsoft.com/office/drawing/2014/main" id="{76EDA9F9-0317-4A34-A26E-7236668E6B9F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-656783" y="6046993"/>
            <a:ext cx="3956688" cy="4269714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3397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6943725" y="69788"/>
            <a:ext cx="174555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555178" y="3524365"/>
            <a:ext cx="4606388" cy="400689"/>
            <a:chOff x="2265804" y="3657186"/>
            <a:chExt cx="8189134" cy="406557"/>
          </a:xfrm>
          <a:noFill/>
        </p:grpSpPr>
        <p:sp>
          <p:nvSpPr>
            <p:cNvPr id="46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8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 hidden="1"/>
            <p:cNvSpPr txBox="1">
              <a:spLocks/>
            </p:cNvSpPr>
            <p:nvPr userDrawn="1"/>
          </p:nvSpPr>
          <p:spPr>
            <a:xfrm>
              <a:off x="2265804" y="3657186"/>
              <a:ext cx="379556" cy="369331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N&gt;.</a:t>
              </a:r>
            </a:p>
          </p:txBody>
        </p:sp>
        <p:sp>
          <p:nvSpPr>
            <p:cNvPr id="48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r"/>
              <a:r>
                <a:rPr lang="en-US" sz="18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555179" y="3049806"/>
            <a:ext cx="4606388" cy="400689"/>
            <a:chOff x="2265804" y="3118462"/>
            <a:chExt cx="8189134" cy="406557"/>
          </a:xfrm>
          <a:noFill/>
        </p:grpSpPr>
        <p:sp>
          <p:nvSpPr>
            <p:cNvPr id="39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normAutofit/>
            </a:bodyPr>
            <a:lstStyle/>
            <a:p>
              <a:pPr algn="l" defTabSz="9334267">
                <a:tabLst>
                  <a:tab pos="9512062" algn="l"/>
                </a:tabLst>
              </a:pPr>
              <a:r>
                <a:rPr lang="en-US" sz="18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 hidden="1"/>
            <p:cNvSpPr txBox="1">
              <a:spLocks/>
            </p:cNvSpPr>
            <p:nvPr userDrawn="1"/>
          </p:nvSpPr>
          <p:spPr>
            <a:xfrm>
              <a:off x="2265804" y="3118462"/>
              <a:ext cx="379556" cy="369331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N&gt;.</a:t>
              </a:r>
            </a:p>
          </p:txBody>
        </p:sp>
        <p:sp>
          <p:nvSpPr>
            <p:cNvPr id="41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r"/>
              <a:r>
                <a:rPr lang="en-US" sz="18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291849" y="2582586"/>
            <a:ext cx="4869717" cy="393351"/>
            <a:chOff x="1797664" y="2587183"/>
            <a:chExt cx="8657274" cy="399112"/>
          </a:xfrm>
          <a:noFill/>
        </p:grpSpPr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8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 hidden="1"/>
            <p:cNvSpPr txBox="1">
              <a:spLocks/>
            </p:cNvSpPr>
            <p:nvPr userDrawn="1"/>
          </p:nvSpPr>
          <p:spPr>
            <a:xfrm>
              <a:off x="1797664" y="2587183"/>
              <a:ext cx="379556" cy="369331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N&gt;.</a:t>
              </a:r>
            </a:p>
          </p:txBody>
        </p:sp>
        <p:sp>
          <p:nvSpPr>
            <p:cNvPr id="34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r"/>
              <a:r>
                <a:rPr lang="en-US" sz="18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2" name="SP Agenda Section" hidden="1">
            <a:extLst>
              <a:ext uri="{FF2B5EF4-FFF2-40B4-BE49-F238E27FC236}">
                <a16:creationId xmlns:a16="http://schemas.microsoft.com/office/drawing/2014/main" id="{2BFB8F86-899C-4E9A-88A6-BC5853425C54}"/>
              </a:ext>
            </a:extLst>
          </p:cNvPr>
          <p:cNvGrpSpPr>
            <a:grpSpLocks/>
          </p:cNvGrpSpPr>
          <p:nvPr userDrawn="1"/>
        </p:nvGrpSpPr>
        <p:grpSpPr>
          <a:xfrm>
            <a:off x="290440" y="2111277"/>
            <a:ext cx="4871127" cy="397439"/>
            <a:chOff x="516607" y="1693149"/>
            <a:chExt cx="8664291" cy="275150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988915" y="1716299"/>
              <a:ext cx="3845349" cy="25200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8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516607" y="1693149"/>
              <a:ext cx="379754" cy="25200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N&gt;.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8543572" y="1693149"/>
              <a:ext cx="637326" cy="25200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r"/>
              <a:r>
                <a:rPr lang="en-US" sz="18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420683" y="1693149"/>
              <a:ext cx="1257716" cy="25200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4933078" y="1693149"/>
              <a:ext cx="1388790" cy="25200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7768446" y="1693149"/>
              <a:ext cx="685080" cy="252000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l"/>
              <a:r>
                <a:rPr lang="en-US" sz="18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45" name="Freeform 16">
            <a:extLst>
              <a:ext uri="{FF2B5EF4-FFF2-40B4-BE49-F238E27FC236}">
                <a16:creationId xmlns:a16="http://schemas.microsoft.com/office/drawing/2014/main" id="{11CD44D5-473B-4388-984D-6017FF4F67DA}"/>
              </a:ext>
            </a:extLst>
          </p:cNvPr>
          <p:cNvSpPr>
            <a:spLocks/>
          </p:cNvSpPr>
          <p:nvPr userDrawn="1"/>
        </p:nvSpPr>
        <p:spPr bwMode="gray">
          <a:xfrm>
            <a:off x="3974561" y="2169232"/>
            <a:ext cx="3396959" cy="3665701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rgbClr val="E1B446"/>
          </a:solidFill>
          <a:ln>
            <a:noFill/>
          </a:ln>
        </p:spPr>
        <p:txBody>
          <a:bodyPr vert="horz" wrap="square" lIns="756000" tIns="21600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Inhalt</a:t>
            </a:r>
          </a:p>
        </p:txBody>
      </p:sp>
    </p:spTree>
    <p:extLst>
      <p:ext uri="{BB962C8B-B14F-4D97-AF65-F5344CB8AC3E}">
        <p14:creationId xmlns:p14="http://schemas.microsoft.com/office/powerpoint/2010/main" val="3168711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48" userDrawn="1">
          <p15:clr>
            <a:srgbClr val="FBAE40"/>
          </p15:clr>
        </p15:guide>
        <p15:guide id="2" pos="32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 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156E76-F1A3-42A0-ADBB-BC03BDD08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19968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156E76-F1A3-42A0-ADBB-BC03BDD08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946E059C-9CEB-4B4F-A9E6-9451733749A3}"/>
              </a:ext>
            </a:extLst>
          </p:cNvPr>
          <p:cNvSpPr>
            <a:spLocks/>
          </p:cNvSpPr>
          <p:nvPr userDrawn="1"/>
        </p:nvSpPr>
        <p:spPr>
          <a:xfrm>
            <a:off x="0" y="2169232"/>
            <a:ext cx="6858000" cy="7736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1077373" y="5905705"/>
            <a:ext cx="5827803" cy="533480"/>
            <a:chOff x="1804482" y="2085631"/>
            <a:chExt cx="6106081" cy="369332"/>
          </a:xfrm>
        </p:grpSpPr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12179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04482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3600" b="1" dirty="0">
                  <a:solidFill>
                    <a:schemeClr val="bg1"/>
                  </a:solidFill>
                </a:rPr>
                <a:t>&lt;N&gt;.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r"/>
              <a:r>
                <a:rPr lang="en-US" sz="1000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 hidden="1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1077373" y="5905705"/>
            <a:ext cx="5827171" cy="533480"/>
            <a:chOff x="1797664" y="2085631"/>
            <a:chExt cx="6105420" cy="369332"/>
          </a:xfrm>
        </p:grpSpPr>
        <p:sp>
          <p:nvSpPr>
            <p:cNvPr id="79" name="Textbox" hidden="1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04700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Textbox" hidden="1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3600" b="1" dirty="0">
                  <a:solidFill>
                    <a:schemeClr val="bg1"/>
                  </a:solidFill>
                </a:rPr>
                <a:t>&lt;N&gt;.</a:t>
              </a:r>
            </a:p>
          </p:txBody>
        </p:sp>
        <p:sp>
          <p:nvSpPr>
            <p:cNvPr id="81" name="Textbox" hidden="1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r"/>
              <a:r>
                <a:rPr lang="en-US" sz="10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 hidden="1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 hidden="1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 hidden="1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t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6943725" y="69788"/>
            <a:ext cx="174555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27" name="Group 15">
            <a:extLst>
              <a:ext uri="{FF2B5EF4-FFF2-40B4-BE49-F238E27FC236}">
                <a16:creationId xmlns:a16="http://schemas.microsoft.com/office/drawing/2014/main" id="{827230DE-BF92-4928-B6C6-E66C8AFB6C3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40673" y="448555"/>
            <a:ext cx="1111253" cy="368029"/>
            <a:chOff x="2759" y="1800"/>
            <a:chExt cx="2171" cy="719"/>
          </a:xfrm>
        </p:grpSpPr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6FC6778-E6EB-4E04-A72E-151D9AED9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224353F6-B35E-4989-AC09-5D2F44E702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9D329054-644E-4FB6-BE3C-5BA10CEE55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874FA562-9DCE-4A2F-A2DA-6B08EA4AA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02AE3490-525C-43F5-9EB6-7072EE346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8EB44762-81D4-4A1C-87A1-A9C6F5651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</p:grpSp>
      <p:sp>
        <p:nvSpPr>
          <p:cNvPr id="35" name="Freeform 16">
            <a:extLst>
              <a:ext uri="{FF2B5EF4-FFF2-40B4-BE49-F238E27FC236}">
                <a16:creationId xmlns:a16="http://schemas.microsoft.com/office/drawing/2014/main" id="{09AB945F-C0FA-47E2-BF15-E66335C25AE3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-656783" y="6046993"/>
            <a:ext cx="3956688" cy="4269714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3110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682" userDrawn="1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26373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26">
            <a:extLst>
              <a:ext uri="{FF2B5EF4-FFF2-40B4-BE49-F238E27FC236}">
                <a16:creationId xmlns:a16="http://schemas.microsoft.com/office/drawing/2014/main" id="{7A71DB42-69AE-4AF1-B806-A184F33052A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858000" cy="6302400"/>
          </a:xfrm>
          <a:solidFill>
            <a:schemeClr val="accent6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5" name="Bildplatzhalter 42">
            <a:extLst>
              <a:ext uri="{FF2B5EF4-FFF2-40B4-BE49-F238E27FC236}">
                <a16:creationId xmlns:a16="http://schemas.microsoft.com/office/drawing/2014/main" id="{CE3CF69D-CC65-42DC-9245-85549DA584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499360" y="4380156"/>
            <a:ext cx="1994400" cy="720000"/>
          </a:xfrm>
          <a:solidFill>
            <a:schemeClr val="bg1"/>
          </a:solidFill>
          <a:ln>
            <a:noFill/>
          </a:ln>
        </p:spPr>
        <p:txBody>
          <a:bodyPr lIns="108000" tIns="72000" rIns="108000" bIns="72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3A2AE3C1-9488-4F2B-97A3-0714763EA6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17381" y="6630565"/>
            <a:ext cx="3749580" cy="1600439"/>
          </a:xfrm>
        </p:spPr>
        <p:txBody>
          <a:bodyPr anchor="b">
            <a:noAutofit/>
          </a:bodyPr>
          <a:lstStyle>
            <a:lvl1pPr>
              <a:defRPr sz="3600" b="1" cap="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28" name="Textplatzhalter 37">
            <a:extLst>
              <a:ext uri="{FF2B5EF4-FFF2-40B4-BE49-F238E27FC236}">
                <a16:creationId xmlns:a16="http://schemas.microsoft.com/office/drawing/2014/main" id="{B6FDC96B-0928-46A2-8B6E-A9EE6F90EE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117414" y="8350191"/>
            <a:ext cx="3118408" cy="276999"/>
          </a:xfrm>
        </p:spPr>
        <p:txBody>
          <a:bodyPr wrap="square"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Referent</a:t>
            </a:r>
          </a:p>
        </p:txBody>
      </p:sp>
      <p:sp>
        <p:nvSpPr>
          <p:cNvPr id="29" name="Textplatzhalter 39">
            <a:extLst>
              <a:ext uri="{FF2B5EF4-FFF2-40B4-BE49-F238E27FC236}">
                <a16:creationId xmlns:a16="http://schemas.microsoft.com/office/drawing/2014/main" id="{F5B9C8F6-8A72-4388-B3DE-D5D1071D77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17414" y="8820268"/>
            <a:ext cx="3447430" cy="400110"/>
          </a:xfrm>
        </p:spPr>
        <p:txBody>
          <a:bodyPr>
            <a:noAutofit/>
          </a:bodyPr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sp>
        <p:nvSpPr>
          <p:cNvPr id="30" name="object 11">
            <a:extLst>
              <a:ext uri="{FF2B5EF4-FFF2-40B4-BE49-F238E27FC236}">
                <a16:creationId xmlns:a16="http://schemas.microsoft.com/office/drawing/2014/main" id="{34F1DE69-DF9E-457E-8551-1E1708F6E914}"/>
              </a:ext>
            </a:extLst>
          </p:cNvPr>
          <p:cNvSpPr txBox="1"/>
          <p:nvPr userDrawn="1"/>
        </p:nvSpPr>
        <p:spPr bwMode="gray">
          <a:xfrm>
            <a:off x="4885472" y="9220444"/>
            <a:ext cx="93639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1200" spc="-5" dirty="0">
                <a:solidFill>
                  <a:schemeClr val="tx2"/>
                </a:solidFill>
                <a:latin typeface="Calibri"/>
                <a:cs typeface="Calibri"/>
              </a:rPr>
              <a:t>Vertraulich</a:t>
            </a:r>
            <a:endParaRPr lang="de-DE" sz="12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grpSp>
        <p:nvGrpSpPr>
          <p:cNvPr id="31" name="Group 15">
            <a:extLst>
              <a:ext uri="{FF2B5EF4-FFF2-40B4-BE49-F238E27FC236}">
                <a16:creationId xmlns:a16="http://schemas.microsoft.com/office/drawing/2014/main" id="{7E75BE20-C840-4E5B-A6C6-0DF37058EA0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866961" y="8583896"/>
            <a:ext cx="1691484" cy="560193"/>
            <a:chOff x="2759" y="1800"/>
            <a:chExt cx="2171" cy="719"/>
          </a:xfrm>
        </p:grpSpPr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CEAFDF1E-34DB-41BE-849B-B9F8F2BA1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A770ACE0-8FF0-4E74-BC88-23FA4D7D8C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8E6F19FD-4687-414B-AEFB-40B49A219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98FAEA6B-DE18-4A65-8ECB-CFD2CD363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FAF4B887-7988-48EC-8096-479419FCC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6873F557-5180-4513-B1F8-9E6B7F15C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1" name="Freeform 16">
            <a:extLst>
              <a:ext uri="{FF2B5EF4-FFF2-40B4-BE49-F238E27FC236}">
                <a16:creationId xmlns:a16="http://schemas.microsoft.com/office/drawing/2014/main" id="{9D90CAEB-BD0D-4BD4-A6BB-25B3EBB1E01B}"/>
              </a:ext>
            </a:extLst>
          </p:cNvPr>
          <p:cNvSpPr>
            <a:spLocks/>
          </p:cNvSpPr>
          <p:nvPr userDrawn="1"/>
        </p:nvSpPr>
        <p:spPr bwMode="auto">
          <a:xfrm rot="10800000">
            <a:off x="300037" y="8350190"/>
            <a:ext cx="702507" cy="758084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4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943189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/>
          <p:cNvSpPr>
            <a:spLocks/>
          </p:cNvSpPr>
          <p:nvPr userDrawn="1"/>
        </p:nvSpPr>
        <p:spPr>
          <a:xfrm>
            <a:off x="0" y="2169232"/>
            <a:ext cx="6858000" cy="7736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549684" y="6609469"/>
            <a:ext cx="4667796" cy="444567"/>
          </a:xfrm>
        </p:spPr>
        <p:txBody>
          <a:bodyPr>
            <a:noAutofit/>
          </a:bodyPr>
          <a:lstStyle>
            <a:lvl1pPr>
              <a:defRPr sz="20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bg1"/>
                </a:solidFill>
              </a:defRPr>
            </a:lvl2pPr>
            <a:lvl3pPr>
              <a:defRPr sz="2000" b="0">
                <a:solidFill>
                  <a:schemeClr val="bg1"/>
                </a:solidFill>
              </a:defRPr>
            </a:lvl3pPr>
            <a:lvl4pPr>
              <a:defRPr sz="2000" b="0">
                <a:solidFill>
                  <a:schemeClr val="bg1"/>
                </a:solidFill>
              </a:defRPr>
            </a:lvl4pPr>
            <a:lvl5pPr>
              <a:defRPr sz="2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ier steht der einzeilige 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549684" y="7065734"/>
            <a:ext cx="4667795" cy="1600439"/>
          </a:xfrm>
        </p:spPr>
        <p:txBody>
          <a:bodyPr wrap="square">
            <a:no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de-DE" dirty="0"/>
              <a:t>1. Hier steht die Kapitelheadline</a:t>
            </a:r>
          </a:p>
        </p:txBody>
      </p:sp>
      <p:sp>
        <p:nvSpPr>
          <p:cNvPr id="16" name="Freeform 16">
            <a:extLst>
              <a:ext uri="{FF2B5EF4-FFF2-40B4-BE49-F238E27FC236}">
                <a16:creationId xmlns:a16="http://schemas.microsoft.com/office/drawing/2014/main" id="{3520140C-8ECC-41DB-9CC2-1C67331C47FB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-656783" y="6046993"/>
            <a:ext cx="3956688" cy="4269714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4" name="Group 15">
            <a:extLst>
              <a:ext uri="{FF2B5EF4-FFF2-40B4-BE49-F238E27FC236}">
                <a16:creationId xmlns:a16="http://schemas.microsoft.com/office/drawing/2014/main" id="{77253A9E-CAA6-4143-A471-1778FFF10AB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40673" y="448555"/>
            <a:ext cx="1111253" cy="368029"/>
            <a:chOff x="2759" y="1800"/>
            <a:chExt cx="2171" cy="719"/>
          </a:xfrm>
        </p:grpSpPr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B6FBF2EA-5FBC-465C-BA5B-FDC6611C6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7ECD33EE-F1E3-41DC-ACEC-14E830DF1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0CE6C5E8-633F-4A50-8603-E83F9066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C7DFC580-0C7C-40E7-BE39-A4AE68E6D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ED2BF71A-57F9-482E-8C6B-1049F2F37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9BBE63EB-E93F-4EF9-B70D-0C6E03EE0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698482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>
            <a:extLst>
              <a:ext uri="{FF2B5EF4-FFF2-40B4-BE49-F238E27FC236}">
                <a16:creationId xmlns:a16="http://schemas.microsoft.com/office/drawing/2014/main" id="{444C9DFE-9CB1-4FCC-A181-0D8B5423DC4D}"/>
              </a:ext>
            </a:extLst>
          </p:cNvPr>
          <p:cNvSpPr>
            <a:spLocks/>
          </p:cNvSpPr>
          <p:nvPr userDrawn="1"/>
        </p:nvSpPr>
        <p:spPr bwMode="gray">
          <a:xfrm>
            <a:off x="3974561" y="1714636"/>
            <a:ext cx="3396959" cy="3665701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rgbClr val="E1B446"/>
          </a:solidFill>
          <a:ln>
            <a:noFill/>
          </a:ln>
        </p:spPr>
        <p:txBody>
          <a:bodyPr vert="horz" wrap="square" lIns="756000" tIns="21600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sz="2400" dirty="0">
                <a:solidFill>
                  <a:schemeClr val="bg1"/>
                </a:solidFill>
                <a:latin typeface="Daxline SC Offc Pro" panose="020B0504020101020102" pitchFamily="34" charset="0"/>
                <a:cs typeface="Daxline SC Offc Pro" panose="020B0504020101020102" pitchFamily="34" charset="0"/>
              </a:rPr>
              <a:t>Fact </a:t>
            </a:r>
            <a:r>
              <a:rPr lang="de-DE" sz="2400" dirty="0" err="1">
                <a:solidFill>
                  <a:schemeClr val="bg1"/>
                </a:solidFill>
                <a:latin typeface="Daxline SC Offc Pro" panose="020B0504020101020102" pitchFamily="34" charset="0"/>
                <a:cs typeface="Daxline SC Offc Pro" panose="020B0504020101020102" pitchFamily="34" charset="0"/>
              </a:rPr>
              <a:t>sheet</a:t>
            </a:r>
            <a:endParaRPr lang="de-DE" sz="2400" dirty="0">
              <a:solidFill>
                <a:schemeClr val="bg1"/>
              </a:solidFill>
              <a:latin typeface="Daxline SC Offc Pro" panose="020B0504020101020102" pitchFamily="34" charset="0"/>
              <a:cs typeface="Daxline SC Offc Pro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2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4E95679-888F-470C-A0AB-FF3F7E7F5E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729001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4E95679-888F-470C-A0AB-FF3F7E7F5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0327" y="556524"/>
            <a:ext cx="4932073" cy="106695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 bwMode="gray">
          <a:xfrm>
            <a:off x="300774" y="2169232"/>
            <a:ext cx="6251152" cy="69685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7926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Textfeld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 bwMode="gray">
          <a:xfrm>
            <a:off x="300775" y="2169232"/>
            <a:ext cx="3047008" cy="696859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gray">
          <a:xfrm>
            <a:off x="3510219" y="2169231"/>
            <a:ext cx="3047008" cy="696859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005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7045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 bwMode="gray">
          <a:xfrm>
            <a:off x="300775" y="2169232"/>
            <a:ext cx="3047008" cy="69685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3510219" y="2169231"/>
            <a:ext cx="3047008" cy="6968597"/>
          </a:xfrm>
          <a:solidFill>
            <a:schemeClr val="accent6"/>
          </a:solidFill>
          <a:ln>
            <a:noFill/>
          </a:ln>
        </p:spPr>
        <p:txBody>
          <a:bodyPr lIns="108000" tIns="72000" rIns="108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361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3DE3F0-D592-4D95-89D3-5CE81AB70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787806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3DE3F0-D592-4D95-89D3-5CE81AB70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0" y="2169232"/>
            <a:ext cx="6858000" cy="7736769"/>
          </a:xfrm>
          <a:solidFill>
            <a:schemeClr val="accent6"/>
          </a:solidFill>
          <a:ln>
            <a:noFill/>
          </a:ln>
        </p:spPr>
        <p:txBody>
          <a:bodyPr lIns="108000" tIns="72000" rIns="108000" bIns="72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grpSp>
        <p:nvGrpSpPr>
          <p:cNvPr id="12" name="Group 15">
            <a:extLst>
              <a:ext uri="{FF2B5EF4-FFF2-40B4-BE49-F238E27FC236}">
                <a16:creationId xmlns:a16="http://schemas.microsoft.com/office/drawing/2014/main" id="{BEE4867F-94FA-4B42-A208-D38EE9D0453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440673" y="448555"/>
            <a:ext cx="1111253" cy="368029"/>
            <a:chOff x="2759" y="1800"/>
            <a:chExt cx="2171" cy="719"/>
          </a:xfrm>
        </p:grpSpPr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2138D4C3-739A-4CEA-A48D-93FE2D0DA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" y="1800"/>
              <a:ext cx="493" cy="532"/>
            </a:xfrm>
            <a:custGeom>
              <a:avLst/>
              <a:gdLst>
                <a:gd name="T0" fmla="*/ 209 w 209"/>
                <a:gd name="T1" fmla="*/ 70 h 225"/>
                <a:gd name="T2" fmla="*/ 140 w 209"/>
                <a:gd name="T3" fmla="*/ 0 h 225"/>
                <a:gd name="T4" fmla="*/ 0 w 209"/>
                <a:gd name="T5" fmla="*/ 0 h 225"/>
                <a:gd name="T6" fmla="*/ 35 w 209"/>
                <a:gd name="T7" fmla="*/ 54 h 225"/>
                <a:gd name="T8" fmla="*/ 72 w 209"/>
                <a:gd name="T9" fmla="*/ 54 h 225"/>
                <a:gd name="T10" fmla="*/ 140 w 209"/>
                <a:gd name="T11" fmla="*/ 54 h 225"/>
                <a:gd name="T12" fmla="*/ 155 w 209"/>
                <a:gd name="T13" fmla="*/ 69 h 225"/>
                <a:gd name="T14" fmla="*/ 154 w 209"/>
                <a:gd name="T15" fmla="*/ 75 h 225"/>
                <a:gd name="T16" fmla="*/ 154 w 209"/>
                <a:gd name="T17" fmla="*/ 75 h 225"/>
                <a:gd name="T18" fmla="*/ 112 w 209"/>
                <a:gd name="T19" fmla="*/ 171 h 225"/>
                <a:gd name="T20" fmla="*/ 147 w 209"/>
                <a:gd name="T21" fmla="*/ 225 h 225"/>
                <a:gd name="T22" fmla="*/ 204 w 209"/>
                <a:gd name="T23" fmla="*/ 96 h 225"/>
                <a:gd name="T24" fmla="*/ 209 w 209"/>
                <a:gd name="T25" fmla="*/ 7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25">
                  <a:moveTo>
                    <a:pt x="209" y="70"/>
                  </a:moveTo>
                  <a:cubicBezTo>
                    <a:pt x="209" y="31"/>
                    <a:pt x="178" y="0"/>
                    <a:pt x="1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140" y="54"/>
                    <a:pt x="140" y="54"/>
                  </a:cubicBezTo>
                  <a:cubicBezTo>
                    <a:pt x="149" y="54"/>
                    <a:pt x="155" y="61"/>
                    <a:pt x="155" y="69"/>
                  </a:cubicBezTo>
                  <a:cubicBezTo>
                    <a:pt x="155" y="71"/>
                    <a:pt x="155" y="73"/>
                    <a:pt x="154" y="75"/>
                  </a:cubicBezTo>
                  <a:cubicBezTo>
                    <a:pt x="154" y="75"/>
                    <a:pt x="154" y="75"/>
                    <a:pt x="154" y="75"/>
                  </a:cubicBezTo>
                  <a:cubicBezTo>
                    <a:pt x="112" y="171"/>
                    <a:pt x="112" y="171"/>
                    <a:pt x="112" y="171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204" y="96"/>
                    <a:pt x="204" y="96"/>
                    <a:pt x="204" y="96"/>
                  </a:cubicBezTo>
                  <a:cubicBezTo>
                    <a:pt x="208" y="87"/>
                    <a:pt x="209" y="79"/>
                    <a:pt x="209" y="7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9CDC2279-1202-4319-BA70-194694D345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4" y="2103"/>
              <a:ext cx="356" cy="416"/>
            </a:xfrm>
            <a:custGeom>
              <a:avLst/>
              <a:gdLst>
                <a:gd name="T0" fmla="*/ 76 w 151"/>
                <a:gd name="T1" fmla="*/ 0 h 176"/>
                <a:gd name="T2" fmla="*/ 0 w 151"/>
                <a:gd name="T3" fmla="*/ 88 h 176"/>
                <a:gd name="T4" fmla="*/ 82 w 151"/>
                <a:gd name="T5" fmla="*/ 176 h 176"/>
                <a:gd name="T6" fmla="*/ 143 w 151"/>
                <a:gd name="T7" fmla="*/ 164 h 176"/>
                <a:gd name="T8" fmla="*/ 132 w 151"/>
                <a:gd name="T9" fmla="*/ 134 h 176"/>
                <a:gd name="T10" fmla="*/ 87 w 151"/>
                <a:gd name="T11" fmla="*/ 143 h 176"/>
                <a:gd name="T12" fmla="*/ 46 w 151"/>
                <a:gd name="T13" fmla="*/ 105 h 176"/>
                <a:gd name="T14" fmla="*/ 148 w 151"/>
                <a:gd name="T15" fmla="*/ 91 h 176"/>
                <a:gd name="T16" fmla="*/ 76 w 151"/>
                <a:gd name="T17" fmla="*/ 0 h 176"/>
                <a:gd name="T18" fmla="*/ 43 w 151"/>
                <a:gd name="T19" fmla="*/ 82 h 176"/>
                <a:gd name="T20" fmla="*/ 75 w 151"/>
                <a:gd name="T21" fmla="*/ 29 h 176"/>
                <a:gd name="T22" fmla="*/ 103 w 151"/>
                <a:gd name="T23" fmla="*/ 73 h 176"/>
                <a:gd name="T24" fmla="*/ 43 w 151"/>
                <a:gd name="T25" fmla="*/ 8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176">
                  <a:moveTo>
                    <a:pt x="76" y="0"/>
                  </a:moveTo>
                  <a:cubicBezTo>
                    <a:pt x="28" y="0"/>
                    <a:pt x="0" y="35"/>
                    <a:pt x="0" y="88"/>
                  </a:cubicBezTo>
                  <a:cubicBezTo>
                    <a:pt x="0" y="142"/>
                    <a:pt x="30" y="176"/>
                    <a:pt x="82" y="176"/>
                  </a:cubicBezTo>
                  <a:cubicBezTo>
                    <a:pt x="111" y="176"/>
                    <a:pt x="129" y="171"/>
                    <a:pt x="143" y="16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23" y="138"/>
                    <a:pt x="107" y="143"/>
                    <a:pt x="87" y="143"/>
                  </a:cubicBezTo>
                  <a:cubicBezTo>
                    <a:pt x="63" y="143"/>
                    <a:pt x="50" y="130"/>
                    <a:pt x="46" y="10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51" y="34"/>
                    <a:pt x="126" y="0"/>
                    <a:pt x="76" y="0"/>
                  </a:cubicBezTo>
                  <a:moveTo>
                    <a:pt x="43" y="82"/>
                  </a:moveTo>
                  <a:cubicBezTo>
                    <a:pt x="42" y="47"/>
                    <a:pt x="54" y="29"/>
                    <a:pt x="75" y="29"/>
                  </a:cubicBezTo>
                  <a:cubicBezTo>
                    <a:pt x="93" y="29"/>
                    <a:pt x="103" y="42"/>
                    <a:pt x="103" y="73"/>
                  </a:cubicBezTo>
                  <a:lnTo>
                    <a:pt x="43" y="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82218912-1DCF-4A77-B6F8-8A41D325B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" y="2103"/>
              <a:ext cx="270" cy="416"/>
            </a:xfrm>
            <a:custGeom>
              <a:avLst/>
              <a:gdLst>
                <a:gd name="T0" fmla="*/ 114 w 114"/>
                <a:gd name="T1" fmla="*/ 123 h 176"/>
                <a:gd name="T2" fmla="*/ 74 w 114"/>
                <a:gd name="T3" fmla="*/ 73 h 176"/>
                <a:gd name="T4" fmla="*/ 52 w 114"/>
                <a:gd name="T5" fmla="*/ 49 h 176"/>
                <a:gd name="T6" fmla="*/ 72 w 114"/>
                <a:gd name="T7" fmla="*/ 32 h 176"/>
                <a:gd name="T8" fmla="*/ 98 w 114"/>
                <a:gd name="T9" fmla="*/ 41 h 176"/>
                <a:gd name="T10" fmla="*/ 110 w 114"/>
                <a:gd name="T11" fmla="*/ 12 h 176"/>
                <a:gd name="T12" fmla="*/ 61 w 114"/>
                <a:gd name="T13" fmla="*/ 0 h 176"/>
                <a:gd name="T14" fmla="*/ 4 w 114"/>
                <a:gd name="T15" fmla="*/ 53 h 176"/>
                <a:gd name="T16" fmla="*/ 42 w 114"/>
                <a:gd name="T17" fmla="*/ 100 h 176"/>
                <a:gd name="T18" fmla="*/ 64 w 114"/>
                <a:gd name="T19" fmla="*/ 124 h 176"/>
                <a:gd name="T20" fmla="*/ 43 w 114"/>
                <a:gd name="T21" fmla="*/ 142 h 176"/>
                <a:gd name="T22" fmla="*/ 13 w 114"/>
                <a:gd name="T23" fmla="*/ 133 h 176"/>
                <a:gd name="T24" fmla="*/ 0 w 114"/>
                <a:gd name="T25" fmla="*/ 164 h 176"/>
                <a:gd name="T26" fmla="*/ 50 w 114"/>
                <a:gd name="T27" fmla="*/ 176 h 176"/>
                <a:gd name="T28" fmla="*/ 114 w 114"/>
                <a:gd name="T29" fmla="*/ 12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76">
                  <a:moveTo>
                    <a:pt x="114" y="123"/>
                  </a:moveTo>
                  <a:cubicBezTo>
                    <a:pt x="114" y="103"/>
                    <a:pt x="107" y="87"/>
                    <a:pt x="74" y="73"/>
                  </a:cubicBezTo>
                  <a:cubicBezTo>
                    <a:pt x="61" y="67"/>
                    <a:pt x="52" y="61"/>
                    <a:pt x="52" y="49"/>
                  </a:cubicBezTo>
                  <a:cubicBezTo>
                    <a:pt x="52" y="40"/>
                    <a:pt x="59" y="32"/>
                    <a:pt x="72" y="32"/>
                  </a:cubicBezTo>
                  <a:cubicBezTo>
                    <a:pt x="83" y="32"/>
                    <a:pt x="93" y="36"/>
                    <a:pt x="98" y="41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96" y="4"/>
                    <a:pt x="82" y="0"/>
                    <a:pt x="61" y="0"/>
                  </a:cubicBezTo>
                  <a:cubicBezTo>
                    <a:pt x="27" y="0"/>
                    <a:pt x="4" y="23"/>
                    <a:pt x="4" y="53"/>
                  </a:cubicBezTo>
                  <a:cubicBezTo>
                    <a:pt x="4" y="70"/>
                    <a:pt x="11" y="88"/>
                    <a:pt x="42" y="100"/>
                  </a:cubicBezTo>
                  <a:cubicBezTo>
                    <a:pt x="58" y="106"/>
                    <a:pt x="64" y="112"/>
                    <a:pt x="64" y="124"/>
                  </a:cubicBezTo>
                  <a:cubicBezTo>
                    <a:pt x="64" y="135"/>
                    <a:pt x="55" y="142"/>
                    <a:pt x="43" y="142"/>
                  </a:cubicBezTo>
                  <a:cubicBezTo>
                    <a:pt x="31" y="142"/>
                    <a:pt x="19" y="138"/>
                    <a:pt x="13" y="13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10" y="171"/>
                    <a:pt x="29" y="176"/>
                    <a:pt x="50" y="176"/>
                  </a:cubicBezTo>
                  <a:cubicBezTo>
                    <a:pt x="90" y="176"/>
                    <a:pt x="114" y="152"/>
                    <a:pt x="114" y="123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18C1911C-82D0-4825-A35A-C05EEDCB5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" y="2100"/>
              <a:ext cx="217" cy="412"/>
            </a:xfrm>
            <a:custGeom>
              <a:avLst/>
              <a:gdLst>
                <a:gd name="T0" fmla="*/ 92 w 92"/>
                <a:gd name="T1" fmla="*/ 2 h 174"/>
                <a:gd name="T2" fmla="*/ 0 w 92"/>
                <a:gd name="T3" fmla="*/ 14 h 174"/>
                <a:gd name="T4" fmla="*/ 0 w 92"/>
                <a:gd name="T5" fmla="*/ 174 h 174"/>
                <a:gd name="T6" fmla="*/ 50 w 92"/>
                <a:gd name="T7" fmla="*/ 174 h 174"/>
                <a:gd name="T8" fmla="*/ 50 w 92"/>
                <a:gd name="T9" fmla="*/ 36 h 174"/>
                <a:gd name="T10" fmla="*/ 82 w 92"/>
                <a:gd name="T11" fmla="*/ 36 h 174"/>
                <a:gd name="T12" fmla="*/ 92 w 92"/>
                <a:gd name="T13" fmla="*/ 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4">
                  <a:moveTo>
                    <a:pt x="92" y="2"/>
                  </a:moveTo>
                  <a:cubicBezTo>
                    <a:pt x="46" y="0"/>
                    <a:pt x="19" y="5"/>
                    <a:pt x="0" y="1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8" y="32"/>
                    <a:pt x="71" y="31"/>
                    <a:pt x="82" y="36"/>
                  </a:cubicBezTo>
                  <a:lnTo>
                    <a:pt x="92" y="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17" name="Freeform 20">
              <a:extLst>
                <a:ext uri="{FF2B5EF4-FFF2-40B4-BE49-F238E27FC236}">
                  <a16:creationId xmlns:a16="http://schemas.microsoft.com/office/drawing/2014/main" id="{75509D22-7C4E-4B7F-8539-BB8F1BB6A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2110"/>
              <a:ext cx="337" cy="409"/>
            </a:xfrm>
            <a:custGeom>
              <a:avLst/>
              <a:gdLst>
                <a:gd name="T0" fmla="*/ 143 w 143"/>
                <a:gd name="T1" fmla="*/ 160 h 173"/>
                <a:gd name="T2" fmla="*/ 143 w 143"/>
                <a:gd name="T3" fmla="*/ 0 h 173"/>
                <a:gd name="T4" fmla="*/ 94 w 143"/>
                <a:gd name="T5" fmla="*/ 0 h 173"/>
                <a:gd name="T6" fmla="*/ 94 w 143"/>
                <a:gd name="T7" fmla="*/ 136 h 173"/>
                <a:gd name="T8" fmla="*/ 73 w 143"/>
                <a:gd name="T9" fmla="*/ 140 h 173"/>
                <a:gd name="T10" fmla="*/ 50 w 143"/>
                <a:gd name="T11" fmla="*/ 118 h 173"/>
                <a:gd name="T12" fmla="*/ 50 w 143"/>
                <a:gd name="T13" fmla="*/ 0 h 173"/>
                <a:gd name="T14" fmla="*/ 0 w 143"/>
                <a:gd name="T15" fmla="*/ 0 h 173"/>
                <a:gd name="T16" fmla="*/ 0 w 143"/>
                <a:gd name="T17" fmla="*/ 114 h 173"/>
                <a:gd name="T18" fmla="*/ 72 w 143"/>
                <a:gd name="T19" fmla="*/ 173 h 173"/>
                <a:gd name="T20" fmla="*/ 143 w 143"/>
                <a:gd name="T21" fmla="*/ 16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173">
                  <a:moveTo>
                    <a:pt x="143" y="16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88" y="139"/>
                    <a:pt x="82" y="140"/>
                    <a:pt x="73" y="140"/>
                  </a:cubicBezTo>
                  <a:cubicBezTo>
                    <a:pt x="56" y="140"/>
                    <a:pt x="50" y="130"/>
                    <a:pt x="50" y="118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55"/>
                    <a:pt x="24" y="173"/>
                    <a:pt x="72" y="173"/>
                  </a:cubicBezTo>
                  <a:cubicBezTo>
                    <a:pt x="104" y="173"/>
                    <a:pt x="127" y="168"/>
                    <a:pt x="143" y="16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BC71DEDC-FDEF-422D-8269-2B2FD2437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" y="1999"/>
              <a:ext cx="251" cy="513"/>
            </a:xfrm>
            <a:custGeom>
              <a:avLst/>
              <a:gdLst>
                <a:gd name="T0" fmla="*/ 251 w 251"/>
                <a:gd name="T1" fmla="*/ 513 h 513"/>
                <a:gd name="T2" fmla="*/ 251 w 251"/>
                <a:gd name="T3" fmla="*/ 432 h 513"/>
                <a:gd name="T4" fmla="*/ 121 w 251"/>
                <a:gd name="T5" fmla="*/ 432 h 513"/>
                <a:gd name="T6" fmla="*/ 121 w 251"/>
                <a:gd name="T7" fmla="*/ 0 h 513"/>
                <a:gd name="T8" fmla="*/ 0 w 251"/>
                <a:gd name="T9" fmla="*/ 0 h 513"/>
                <a:gd name="T10" fmla="*/ 0 w 251"/>
                <a:gd name="T11" fmla="*/ 513 h 513"/>
                <a:gd name="T12" fmla="*/ 251 w 251"/>
                <a:gd name="T13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513">
                  <a:moveTo>
                    <a:pt x="251" y="513"/>
                  </a:moveTo>
                  <a:lnTo>
                    <a:pt x="251" y="432"/>
                  </a:lnTo>
                  <a:lnTo>
                    <a:pt x="121" y="432"/>
                  </a:lnTo>
                  <a:lnTo>
                    <a:pt x="121" y="0"/>
                  </a:lnTo>
                  <a:lnTo>
                    <a:pt x="0" y="0"/>
                  </a:lnTo>
                  <a:lnTo>
                    <a:pt x="0" y="513"/>
                  </a:lnTo>
                  <a:lnTo>
                    <a:pt x="251" y="51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791223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300775" y="2169231"/>
            <a:ext cx="6256452" cy="6968597"/>
          </a:xfrm>
        </p:spPr>
        <p:txBody>
          <a:bodyPr/>
          <a:lstStyle>
            <a:lvl1pPr marL="176213" indent="-176213">
              <a:buClr>
                <a:schemeClr val="accent1"/>
              </a:buClr>
              <a:buFont typeface="Arial" panose="020B0604020202020204" pitchFamily="34" charset="0"/>
              <a:buChar char="•"/>
              <a:defRPr b="0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07978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Schrift, Logo, Grafiken enthält.&#10;&#10;KI-generierte Inhalte können fehlerhaft sein.">
            <a:extLst>
              <a:ext uri="{FF2B5EF4-FFF2-40B4-BE49-F238E27FC236}">
                <a16:creationId xmlns:a16="http://schemas.microsoft.com/office/drawing/2014/main" id="{860E9D3A-4A03-58A6-8375-228F8CA2866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00" y="298918"/>
            <a:ext cx="1265736" cy="791085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61081150"/>
              </p:ext>
            </p:extLst>
          </p:nvPr>
        </p:nvGraphicFramePr>
        <p:xfrm>
          <a:off x="893" y="2295"/>
          <a:ext cx="892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893" y="2295"/>
                        <a:ext cx="892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00328" y="556524"/>
            <a:ext cx="4930994" cy="106695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00327" y="2169231"/>
            <a:ext cx="6256899" cy="6959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-209434" y="-460173"/>
            <a:ext cx="7276870" cy="10826345"/>
            <a:chOff x="-372522" y="-318581"/>
            <a:chExt cx="12943395" cy="7495162"/>
          </a:xfrm>
        </p:grpSpPr>
        <p:cxnSp>
          <p:nvCxnSpPr>
            <p:cNvPr id="9" name="Gerade Verbindung 8"/>
            <p:cNvCxnSpPr/>
            <p:nvPr/>
          </p:nvCxnSpPr>
          <p:spPr>
            <a:xfrm flipV="1">
              <a:off x="534987" y="-318581"/>
              <a:ext cx="0" cy="179962"/>
            </a:xfrm>
            <a:prstGeom prst="line">
              <a:avLst/>
            </a:prstGeom>
            <a:ln>
              <a:solidFill>
                <a:srgbClr val="843A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 flipV="1">
              <a:off x="5954713" y="-318581"/>
              <a:ext cx="0" cy="179962"/>
            </a:xfrm>
            <a:prstGeom prst="line">
              <a:avLst/>
            </a:prstGeom>
            <a:ln>
              <a:solidFill>
                <a:srgbClr val="843A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1658302" y="-318581"/>
              <a:ext cx="0" cy="179962"/>
            </a:xfrm>
            <a:prstGeom prst="line">
              <a:avLst/>
            </a:prstGeom>
            <a:ln>
              <a:solidFill>
                <a:srgbClr val="843A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 flipV="1">
              <a:off x="10042525" y="-318581"/>
              <a:ext cx="0" cy="179962"/>
            </a:xfrm>
            <a:prstGeom prst="line">
              <a:avLst/>
            </a:prstGeom>
            <a:ln>
              <a:solidFill>
                <a:srgbClr val="843A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uppieren 12"/>
            <p:cNvGrpSpPr/>
            <p:nvPr/>
          </p:nvGrpSpPr>
          <p:grpSpPr>
            <a:xfrm>
              <a:off x="534193" y="6996619"/>
              <a:ext cx="11124109" cy="179962"/>
              <a:chOff x="534193" y="-345332"/>
              <a:chExt cx="11124109" cy="179962"/>
            </a:xfrm>
          </p:grpSpPr>
          <p:cxnSp>
            <p:nvCxnSpPr>
              <p:cNvPr id="24" name="Gerade Verbindung 23"/>
              <p:cNvCxnSpPr/>
              <p:nvPr/>
            </p:nvCxnSpPr>
            <p:spPr>
              <a:xfrm flipV="1">
                <a:off x="534193" y="-34533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/>
            </p:nvCxnSpPr>
            <p:spPr>
              <a:xfrm flipV="1">
                <a:off x="6242051" y="-34533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/>
            </p:nvCxnSpPr>
            <p:spPr>
              <a:xfrm flipV="1">
                <a:off x="11658302" y="-34533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/>
            </p:nvCxnSpPr>
            <p:spPr>
              <a:xfrm flipV="1">
                <a:off x="10042525" y="-34533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>
              <a:xfrm flipV="1">
                <a:off x="5954713" y="-34533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uppieren 13"/>
            <p:cNvGrpSpPr/>
            <p:nvPr/>
          </p:nvGrpSpPr>
          <p:grpSpPr>
            <a:xfrm>
              <a:off x="-372522" y="376499"/>
              <a:ext cx="179962" cy="5949691"/>
              <a:chOff x="-418594" y="376499"/>
              <a:chExt cx="179962" cy="5949691"/>
            </a:xfrm>
          </p:grpSpPr>
          <p:cxnSp>
            <p:nvCxnSpPr>
              <p:cNvPr id="20" name="Gerade Verbindung 19"/>
              <p:cNvCxnSpPr/>
              <p:nvPr/>
            </p:nvCxnSpPr>
            <p:spPr>
              <a:xfrm rot="5400000" flipV="1">
                <a:off x="-328613" y="286518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20"/>
              <p:cNvCxnSpPr/>
              <p:nvPr/>
            </p:nvCxnSpPr>
            <p:spPr>
              <a:xfrm rot="5400000" flipV="1">
                <a:off x="-328613" y="1032643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21"/>
              <p:cNvCxnSpPr>
                <a:cxnSpLocks/>
              </p:cNvCxnSpPr>
              <p:nvPr/>
            </p:nvCxnSpPr>
            <p:spPr>
              <a:xfrm rot="5400000" flipV="1">
                <a:off x="-328613" y="1411794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/>
            </p:nvCxnSpPr>
            <p:spPr>
              <a:xfrm rot="5400000" flipV="1">
                <a:off x="-328613" y="6236209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>
                <a:cxnSpLocks/>
              </p:cNvCxnSpPr>
              <p:nvPr userDrawn="1"/>
            </p:nvCxnSpPr>
            <p:spPr>
              <a:xfrm rot="5400000" flipV="1">
                <a:off x="-328613" y="3685094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>
                <a:cxnSpLocks/>
              </p:cNvCxnSpPr>
              <p:nvPr userDrawn="1"/>
            </p:nvCxnSpPr>
            <p:spPr>
              <a:xfrm rot="5400000" flipV="1">
                <a:off x="-328613" y="396608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uppieren 14"/>
            <p:cNvGrpSpPr/>
            <p:nvPr/>
          </p:nvGrpSpPr>
          <p:grpSpPr>
            <a:xfrm>
              <a:off x="12390911" y="376499"/>
              <a:ext cx="179962" cy="5943339"/>
              <a:chOff x="-418594" y="376499"/>
              <a:chExt cx="179962" cy="5943339"/>
            </a:xfrm>
          </p:grpSpPr>
          <p:cxnSp>
            <p:nvCxnSpPr>
              <p:cNvPr id="16" name="Gerade Verbindung 15"/>
              <p:cNvCxnSpPr/>
              <p:nvPr/>
            </p:nvCxnSpPr>
            <p:spPr>
              <a:xfrm rot="5400000" flipV="1">
                <a:off x="-328613" y="286518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16"/>
              <p:cNvCxnSpPr/>
              <p:nvPr/>
            </p:nvCxnSpPr>
            <p:spPr>
              <a:xfrm rot="5400000" flipV="1">
                <a:off x="-328613" y="1042168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17"/>
              <p:cNvCxnSpPr>
                <a:cxnSpLocks/>
              </p:cNvCxnSpPr>
              <p:nvPr/>
            </p:nvCxnSpPr>
            <p:spPr>
              <a:xfrm rot="5400000" flipV="1">
                <a:off x="-328613" y="1411794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8"/>
              <p:cNvCxnSpPr/>
              <p:nvPr/>
            </p:nvCxnSpPr>
            <p:spPr>
              <a:xfrm rot="5400000" flipV="1">
                <a:off x="-328613" y="6229857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>
                <a:cxnSpLocks/>
              </p:cNvCxnSpPr>
              <p:nvPr userDrawn="1"/>
            </p:nvCxnSpPr>
            <p:spPr>
              <a:xfrm rot="5400000" flipV="1">
                <a:off x="-328613" y="3685094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>
                <a:cxnSpLocks/>
              </p:cNvCxnSpPr>
              <p:nvPr userDrawn="1"/>
            </p:nvCxnSpPr>
            <p:spPr>
              <a:xfrm rot="5400000" flipV="1">
                <a:off x="-328613" y="3966082"/>
                <a:ext cx="0" cy="179962"/>
              </a:xfrm>
              <a:prstGeom prst="line">
                <a:avLst/>
              </a:prstGeom>
              <a:ln>
                <a:solidFill>
                  <a:srgbClr val="843A3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Gerade Verbindung 40"/>
            <p:cNvCxnSpPr/>
            <p:nvPr userDrawn="1"/>
          </p:nvCxnSpPr>
          <p:spPr>
            <a:xfrm flipV="1">
              <a:off x="6242051" y="-318581"/>
              <a:ext cx="0" cy="179962"/>
            </a:xfrm>
            <a:prstGeom prst="line">
              <a:avLst/>
            </a:prstGeom>
            <a:ln>
              <a:solidFill>
                <a:srgbClr val="843A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SP Placeholder Schlussfolgerung" hidden="1">
            <a:extLst>
              <a:ext uri="{FF2B5EF4-FFF2-40B4-BE49-F238E27FC236}">
                <a16:creationId xmlns:a16="http://schemas.microsoft.com/office/drawing/2014/main" id="{DC472F01-71B6-4C90-86AC-C59A366775AD}"/>
              </a:ext>
            </a:extLst>
          </p:cNvPr>
          <p:cNvGrpSpPr/>
          <p:nvPr/>
        </p:nvGrpSpPr>
        <p:grpSpPr>
          <a:xfrm>
            <a:off x="300774" y="8492107"/>
            <a:ext cx="6267654" cy="638387"/>
            <a:chOff x="534988" y="5879151"/>
            <a:chExt cx="11148300" cy="441960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F6E6A244-B339-4084-88CD-7A885B93E097}"/>
                </a:ext>
              </a:extLst>
            </p:cNvPr>
            <p:cNvSpPr/>
            <p:nvPr userDrawn="1"/>
          </p:nvSpPr>
          <p:spPr>
            <a:xfrm>
              <a:off x="552768" y="5879151"/>
              <a:ext cx="11130520" cy="4419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marL="173038" indent="0" algn="l"/>
              <a:endParaRPr lang="de-DE" dirty="0" err="1">
                <a:solidFill>
                  <a:schemeClr val="bg1"/>
                </a:solidFill>
              </a:endParaRPr>
            </a:p>
          </p:txBody>
        </p:sp>
        <p:sp>
          <p:nvSpPr>
            <p:cNvPr id="50" name="Gleichschenkliges Dreieck 49">
              <a:extLst>
                <a:ext uri="{FF2B5EF4-FFF2-40B4-BE49-F238E27FC236}">
                  <a16:creationId xmlns:a16="http://schemas.microsoft.com/office/drawing/2014/main" id="{46255879-5747-41AF-8CED-F5CA38F4FFC3}"/>
                </a:ext>
              </a:extLst>
            </p:cNvPr>
            <p:cNvSpPr/>
            <p:nvPr userDrawn="1"/>
          </p:nvSpPr>
          <p:spPr>
            <a:xfrm rot="5400000">
              <a:off x="437198" y="6009961"/>
              <a:ext cx="378460" cy="182880"/>
            </a:xfrm>
            <a:prstGeom prst="triangl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/>
            <a:lstStyle/>
            <a:p>
              <a:pPr algn="ctr"/>
              <a:endParaRPr lang="de-DE" dirty="0" err="1">
                <a:solidFill>
                  <a:schemeClr val="tx2"/>
                </a:solidFill>
              </a:endParaRPr>
            </a:p>
          </p:txBody>
        </p:sp>
      </p:grpSp>
      <p:sp>
        <p:nvSpPr>
          <p:cNvPr id="51" name="SP Placeholder Fußnote &amp; Quelle" hidden="1">
            <a:extLst>
              <a:ext uri="{FF2B5EF4-FFF2-40B4-BE49-F238E27FC236}">
                <a16:creationId xmlns:a16="http://schemas.microsoft.com/office/drawing/2014/main" id="{369CC563-11CD-4CCF-8812-7D8C94C87638}"/>
              </a:ext>
            </a:extLst>
          </p:cNvPr>
          <p:cNvSpPr txBox="1">
            <a:spLocks/>
          </p:cNvSpPr>
          <p:nvPr/>
        </p:nvSpPr>
        <p:spPr bwMode="gray">
          <a:xfrm>
            <a:off x="300774" y="8755813"/>
            <a:ext cx="4857899" cy="27186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266700" indent="-266700" algn="l" defTabSz="914400" rtl="0" eaLnBrk="1" latinLnBrk="0" hangingPunct="1">
              <a:spcBef>
                <a:spcPts val="600"/>
              </a:spcBef>
              <a:buClr>
                <a:schemeClr val="accent4"/>
              </a:buClr>
              <a:buFont typeface="Wingdings" panose="05000000000000000000" pitchFamily="2" charset="2"/>
              <a:buChar char="n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defTabSz="914400" rtl="0" eaLnBrk="1" latinLnBrk="0" hangingPunct="1">
              <a:spcBef>
                <a:spcPts val="6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180975" algn="l" defTabSz="914400" rtl="0" eaLnBrk="1" latinLnBrk="0" hangingPunct="1">
              <a:spcBef>
                <a:spcPts val="600"/>
              </a:spcBef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-171450" algn="l" defTabSz="914400" rtl="0" eaLnBrk="1" latinLnBrk="0" hangingPunct="1">
              <a:spcBef>
                <a:spcPts val="600"/>
              </a:spcBef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80975" algn="l" defTabSz="914400" rtl="0" eaLnBrk="1" latinLnBrk="0" hangingPunct="1">
              <a:spcBef>
                <a:spcPts val="600"/>
              </a:spcBef>
              <a:buClr>
                <a:schemeClr val="accent4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None/>
            </a:pPr>
            <a:r>
              <a:rPr lang="de-DE" sz="800" dirty="0">
                <a:solidFill>
                  <a:schemeClr val="tx2"/>
                </a:solidFill>
              </a:rPr>
              <a:t>1) Fußnote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de-DE" sz="800" dirty="0">
                <a:solidFill>
                  <a:schemeClr val="tx2"/>
                </a:solidFill>
              </a:rPr>
              <a:t>Quelle:</a:t>
            </a:r>
          </a:p>
        </p:txBody>
      </p:sp>
      <p:sp>
        <p:nvSpPr>
          <p:cNvPr id="52" name="SP Placeholder Draft" hidden="1">
            <a:extLst>
              <a:ext uri="{FF2B5EF4-FFF2-40B4-BE49-F238E27FC236}">
                <a16:creationId xmlns:a16="http://schemas.microsoft.com/office/drawing/2014/main" id="{B4F9446B-AA5E-4213-82C3-A1953EFA4EFD}"/>
              </a:ext>
            </a:extLst>
          </p:cNvPr>
          <p:cNvSpPr/>
          <p:nvPr/>
        </p:nvSpPr>
        <p:spPr>
          <a:xfrm>
            <a:off x="5820688" y="1153348"/>
            <a:ext cx="731238" cy="485482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spc="300" dirty="0">
                <a:solidFill>
                  <a:schemeClr val="bg1"/>
                </a:solidFill>
              </a:rPr>
              <a:t>DRAFT</a:t>
            </a:r>
          </a:p>
        </p:txBody>
      </p:sp>
      <p:grpSp>
        <p:nvGrpSpPr>
          <p:cNvPr id="53" name="SP Placeholder Beispiel" hidden="1">
            <a:extLst>
              <a:ext uri="{FF2B5EF4-FFF2-40B4-BE49-F238E27FC236}">
                <a16:creationId xmlns:a16="http://schemas.microsoft.com/office/drawing/2014/main" id="{38848C2D-E112-436B-A292-ED8B1572DFD9}"/>
              </a:ext>
            </a:extLst>
          </p:cNvPr>
          <p:cNvGrpSpPr/>
          <p:nvPr/>
        </p:nvGrpSpPr>
        <p:grpSpPr>
          <a:xfrm rot="468781">
            <a:off x="5863022" y="1960912"/>
            <a:ext cx="693266" cy="768914"/>
            <a:chOff x="6798624" y="1383980"/>
            <a:chExt cx="1233114" cy="532325"/>
          </a:xfrm>
        </p:grpSpPr>
        <p:sp>
          <p:nvSpPr>
            <p:cNvPr id="54" name="Ellipse 4">
              <a:extLst>
                <a:ext uri="{FF2B5EF4-FFF2-40B4-BE49-F238E27FC236}">
                  <a16:creationId xmlns:a16="http://schemas.microsoft.com/office/drawing/2014/main" id="{17AE7301-4DAB-4EC9-A6DC-9FE48B8F09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798624" y="1383980"/>
              <a:ext cx="1233114" cy="532325"/>
            </a:xfrm>
            <a:prstGeom prst="roundRect">
              <a:avLst/>
            </a:prstGeom>
            <a:solidFill>
              <a:schemeClr val="bg2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anchor="b"/>
            <a:lstStyle/>
            <a:p>
              <a:pPr algn="ctr">
                <a:defRPr/>
              </a:pPr>
              <a:r>
                <a:rPr lang="de-DE" sz="1400" b="1" spc="300" dirty="0">
                  <a:solidFill>
                    <a:schemeClr val="tx2"/>
                  </a:solidFill>
                </a:rPr>
                <a:t>BEISPIEL</a:t>
              </a:r>
            </a:p>
          </p:txBody>
        </p:sp>
        <p:sp>
          <p:nvSpPr>
            <p:cNvPr id="55" name="Ellipse 89">
              <a:extLst>
                <a:ext uri="{FF2B5EF4-FFF2-40B4-BE49-F238E27FC236}">
                  <a16:creationId xmlns:a16="http://schemas.microsoft.com/office/drawing/2014/main" id="{A629523E-9363-4917-B3B1-DC82745686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98928" flipV="1">
              <a:off x="7358752" y="1488968"/>
              <a:ext cx="108000" cy="108000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dirty="0"/>
            </a:p>
          </p:txBody>
        </p:sp>
      </p:grpSp>
      <p:grpSp>
        <p:nvGrpSpPr>
          <p:cNvPr id="56" name="SP Placeholder Back up" hidden="1">
            <a:extLst>
              <a:ext uri="{FF2B5EF4-FFF2-40B4-BE49-F238E27FC236}">
                <a16:creationId xmlns:a16="http://schemas.microsoft.com/office/drawing/2014/main" id="{BE42ECDB-0345-499F-BF80-ACBB6430213C}"/>
              </a:ext>
            </a:extLst>
          </p:cNvPr>
          <p:cNvGrpSpPr/>
          <p:nvPr/>
        </p:nvGrpSpPr>
        <p:grpSpPr>
          <a:xfrm>
            <a:off x="5864405" y="1650804"/>
            <a:ext cx="1040470" cy="1246824"/>
            <a:chOff x="7361794" y="819455"/>
            <a:chExt cx="1850687" cy="863186"/>
          </a:xfrm>
        </p:grpSpPr>
        <p:sp>
          <p:nvSpPr>
            <p:cNvPr id="57" name="Rectangle 311">
              <a:extLst>
                <a:ext uri="{FF2B5EF4-FFF2-40B4-BE49-F238E27FC236}">
                  <a16:creationId xmlns:a16="http://schemas.microsoft.com/office/drawing/2014/main" id="{8DC5A196-B48F-4636-94ED-E1A227332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1794" y="1119766"/>
              <a:ext cx="1252248" cy="335192"/>
            </a:xfrm>
            <a:prstGeom prst="roundRect">
              <a:avLst/>
            </a:prstGeom>
            <a:solidFill>
              <a:schemeClr val="accent1"/>
            </a:solidFill>
            <a:ln w="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solidFill>
                  <a:srgbClr val="404040"/>
                </a:solidFill>
                <a:latin typeface="Arial Narrow" pitchFamily="34" charset="0"/>
              </a:endParaRPr>
            </a:p>
          </p:txBody>
        </p:sp>
        <p:pic>
          <p:nvPicPr>
            <p:cNvPr id="58" name="Picture 2">
              <a:extLst>
                <a:ext uri="{FF2B5EF4-FFF2-40B4-BE49-F238E27FC236}">
                  <a16:creationId xmlns:a16="http://schemas.microsoft.com/office/drawing/2014/main" id="{FC18110B-4CB5-4BC2-8201-4115EE3D53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1653" y="819455"/>
              <a:ext cx="575459" cy="8631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9" name="Flussdiagramm: Daten 9">
              <a:extLst>
                <a:ext uri="{FF2B5EF4-FFF2-40B4-BE49-F238E27FC236}">
                  <a16:creationId xmlns:a16="http://schemas.microsoft.com/office/drawing/2014/main" id="{2D72170C-4DEB-4D7C-959F-F8AB4B57D7E0}"/>
                </a:ext>
              </a:extLst>
            </p:cNvPr>
            <p:cNvSpPr/>
            <p:nvPr/>
          </p:nvSpPr>
          <p:spPr bwMode="auto">
            <a:xfrm rot="813781">
              <a:off x="7486178" y="1093703"/>
              <a:ext cx="180842" cy="386025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620"/>
                <a:gd name="connsiteY0" fmla="*/ 11206 h 11206"/>
                <a:gd name="connsiteX1" fmla="*/ 2000 w 10620"/>
                <a:gd name="connsiteY1" fmla="*/ 1206 h 11206"/>
                <a:gd name="connsiteX2" fmla="*/ 10620 w 10620"/>
                <a:gd name="connsiteY2" fmla="*/ 0 h 11206"/>
                <a:gd name="connsiteX3" fmla="*/ 8000 w 10620"/>
                <a:gd name="connsiteY3" fmla="*/ 11206 h 11206"/>
                <a:gd name="connsiteX4" fmla="*/ 0 w 10620"/>
                <a:gd name="connsiteY4" fmla="*/ 11206 h 11206"/>
                <a:gd name="connsiteX0" fmla="*/ 0 w 10620"/>
                <a:gd name="connsiteY0" fmla="*/ 11206 h 11206"/>
                <a:gd name="connsiteX1" fmla="*/ 1876 w 10620"/>
                <a:gd name="connsiteY1" fmla="*/ 1069 h 11206"/>
                <a:gd name="connsiteX2" fmla="*/ 10620 w 10620"/>
                <a:gd name="connsiteY2" fmla="*/ 0 h 11206"/>
                <a:gd name="connsiteX3" fmla="*/ 8000 w 10620"/>
                <a:gd name="connsiteY3" fmla="*/ 11206 h 11206"/>
                <a:gd name="connsiteX4" fmla="*/ 0 w 10620"/>
                <a:gd name="connsiteY4" fmla="*/ 11206 h 11206"/>
                <a:gd name="connsiteX0" fmla="*/ 0 w 12234"/>
                <a:gd name="connsiteY0" fmla="*/ 13451 h 13451"/>
                <a:gd name="connsiteX1" fmla="*/ 3490 w 12234"/>
                <a:gd name="connsiteY1" fmla="*/ 1069 h 13451"/>
                <a:gd name="connsiteX2" fmla="*/ 12234 w 12234"/>
                <a:gd name="connsiteY2" fmla="*/ 0 h 13451"/>
                <a:gd name="connsiteX3" fmla="*/ 9614 w 12234"/>
                <a:gd name="connsiteY3" fmla="*/ 11206 h 13451"/>
                <a:gd name="connsiteX4" fmla="*/ 0 w 12234"/>
                <a:gd name="connsiteY4" fmla="*/ 13451 h 13451"/>
                <a:gd name="connsiteX0" fmla="*/ 0 w 12234"/>
                <a:gd name="connsiteY0" fmla="*/ 13451 h 13451"/>
                <a:gd name="connsiteX1" fmla="*/ 3490 w 12234"/>
                <a:gd name="connsiteY1" fmla="*/ 1069 h 13451"/>
                <a:gd name="connsiteX2" fmla="*/ 12234 w 12234"/>
                <a:gd name="connsiteY2" fmla="*/ 0 h 13451"/>
                <a:gd name="connsiteX3" fmla="*/ 9708 w 12234"/>
                <a:gd name="connsiteY3" fmla="*/ 12293 h 13451"/>
                <a:gd name="connsiteX4" fmla="*/ 0 w 12234"/>
                <a:gd name="connsiteY4" fmla="*/ 13451 h 13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34" h="13451">
                  <a:moveTo>
                    <a:pt x="0" y="13451"/>
                  </a:moveTo>
                  <a:lnTo>
                    <a:pt x="3490" y="1069"/>
                  </a:lnTo>
                  <a:lnTo>
                    <a:pt x="12234" y="0"/>
                  </a:lnTo>
                  <a:lnTo>
                    <a:pt x="9708" y="12293"/>
                  </a:lnTo>
                  <a:lnTo>
                    <a:pt x="0" y="1345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>
                <a:solidFill>
                  <a:srgbClr val="404040"/>
                </a:solidFill>
              </a:endParaRPr>
            </a:p>
          </p:txBody>
        </p:sp>
        <p:sp>
          <p:nvSpPr>
            <p:cNvPr id="60" name="Flussdiagramm: Daten 10">
              <a:extLst>
                <a:ext uri="{FF2B5EF4-FFF2-40B4-BE49-F238E27FC236}">
                  <a16:creationId xmlns:a16="http://schemas.microsoft.com/office/drawing/2014/main" id="{3D9B131E-2D4F-4329-AFD3-396F7D0C33AF}"/>
                </a:ext>
              </a:extLst>
            </p:cNvPr>
            <p:cNvSpPr/>
            <p:nvPr/>
          </p:nvSpPr>
          <p:spPr bwMode="auto">
            <a:xfrm rot="813781">
              <a:off x="7812773" y="1092890"/>
              <a:ext cx="186071" cy="388927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4"/>
                <a:gd name="connsiteY0" fmla="*/ 11216 h 11216"/>
                <a:gd name="connsiteX1" fmla="*/ 2000 w 10004"/>
                <a:gd name="connsiteY1" fmla="*/ 1216 h 11216"/>
                <a:gd name="connsiteX2" fmla="*/ 10004 w 10004"/>
                <a:gd name="connsiteY2" fmla="*/ 0 h 11216"/>
                <a:gd name="connsiteX3" fmla="*/ 8000 w 10004"/>
                <a:gd name="connsiteY3" fmla="*/ 11216 h 11216"/>
                <a:gd name="connsiteX4" fmla="*/ 0 w 10004"/>
                <a:gd name="connsiteY4" fmla="*/ 11216 h 11216"/>
                <a:gd name="connsiteX0" fmla="*/ 0 w 10004"/>
                <a:gd name="connsiteY0" fmla="*/ 11216 h 11216"/>
                <a:gd name="connsiteX1" fmla="*/ 1960 w 10004"/>
                <a:gd name="connsiteY1" fmla="*/ 1123 h 11216"/>
                <a:gd name="connsiteX2" fmla="*/ 10004 w 10004"/>
                <a:gd name="connsiteY2" fmla="*/ 0 h 11216"/>
                <a:gd name="connsiteX3" fmla="*/ 8000 w 10004"/>
                <a:gd name="connsiteY3" fmla="*/ 11216 h 11216"/>
                <a:gd name="connsiteX4" fmla="*/ 0 w 10004"/>
                <a:gd name="connsiteY4" fmla="*/ 11216 h 11216"/>
                <a:gd name="connsiteX0" fmla="*/ 0 w 10004"/>
                <a:gd name="connsiteY0" fmla="*/ 11216 h 13145"/>
                <a:gd name="connsiteX1" fmla="*/ 1960 w 10004"/>
                <a:gd name="connsiteY1" fmla="*/ 1123 h 13145"/>
                <a:gd name="connsiteX2" fmla="*/ 10004 w 10004"/>
                <a:gd name="connsiteY2" fmla="*/ 0 h 13145"/>
                <a:gd name="connsiteX3" fmla="*/ 8069 w 10004"/>
                <a:gd name="connsiteY3" fmla="*/ 13145 h 13145"/>
                <a:gd name="connsiteX4" fmla="*/ 0 w 10004"/>
                <a:gd name="connsiteY4" fmla="*/ 11216 h 13145"/>
                <a:gd name="connsiteX0" fmla="*/ 0 w 10987"/>
                <a:gd name="connsiteY0" fmla="*/ 14402 h 14402"/>
                <a:gd name="connsiteX1" fmla="*/ 2943 w 10987"/>
                <a:gd name="connsiteY1" fmla="*/ 1123 h 14402"/>
                <a:gd name="connsiteX2" fmla="*/ 10987 w 10987"/>
                <a:gd name="connsiteY2" fmla="*/ 0 h 14402"/>
                <a:gd name="connsiteX3" fmla="*/ 9052 w 10987"/>
                <a:gd name="connsiteY3" fmla="*/ 13145 h 14402"/>
                <a:gd name="connsiteX4" fmla="*/ 0 w 10987"/>
                <a:gd name="connsiteY4" fmla="*/ 14402 h 14402"/>
                <a:gd name="connsiteX0" fmla="*/ 0 w 10987"/>
                <a:gd name="connsiteY0" fmla="*/ 14402 h 14402"/>
                <a:gd name="connsiteX1" fmla="*/ 2943 w 10987"/>
                <a:gd name="connsiteY1" fmla="*/ 1123 h 14402"/>
                <a:gd name="connsiteX2" fmla="*/ 10987 w 10987"/>
                <a:gd name="connsiteY2" fmla="*/ 0 h 14402"/>
                <a:gd name="connsiteX3" fmla="*/ 9177 w 10987"/>
                <a:gd name="connsiteY3" fmla="*/ 13161 h 14402"/>
                <a:gd name="connsiteX4" fmla="*/ 0 w 10987"/>
                <a:gd name="connsiteY4" fmla="*/ 14402 h 14402"/>
                <a:gd name="connsiteX0" fmla="*/ 0 w 10987"/>
                <a:gd name="connsiteY0" fmla="*/ 14402 h 14402"/>
                <a:gd name="connsiteX1" fmla="*/ 2943 w 10987"/>
                <a:gd name="connsiteY1" fmla="*/ 1123 h 14402"/>
                <a:gd name="connsiteX2" fmla="*/ 10987 w 10987"/>
                <a:gd name="connsiteY2" fmla="*/ 0 h 14402"/>
                <a:gd name="connsiteX3" fmla="*/ 9190 w 10987"/>
                <a:gd name="connsiteY3" fmla="*/ 13060 h 14402"/>
                <a:gd name="connsiteX4" fmla="*/ 0 w 10987"/>
                <a:gd name="connsiteY4" fmla="*/ 14402 h 14402"/>
                <a:gd name="connsiteX0" fmla="*/ 0 w 10987"/>
                <a:gd name="connsiteY0" fmla="*/ 14402 h 14402"/>
                <a:gd name="connsiteX1" fmla="*/ 2725 w 10987"/>
                <a:gd name="connsiteY1" fmla="*/ 1091 h 14402"/>
                <a:gd name="connsiteX2" fmla="*/ 10987 w 10987"/>
                <a:gd name="connsiteY2" fmla="*/ 0 h 14402"/>
                <a:gd name="connsiteX3" fmla="*/ 9190 w 10987"/>
                <a:gd name="connsiteY3" fmla="*/ 13060 h 14402"/>
                <a:gd name="connsiteX4" fmla="*/ 0 w 10987"/>
                <a:gd name="connsiteY4" fmla="*/ 14402 h 14402"/>
                <a:gd name="connsiteX0" fmla="*/ 0 w 10977"/>
                <a:gd name="connsiteY0" fmla="*/ 14565 h 14565"/>
                <a:gd name="connsiteX1" fmla="*/ 2725 w 10977"/>
                <a:gd name="connsiteY1" fmla="*/ 1254 h 14565"/>
                <a:gd name="connsiteX2" fmla="*/ 10977 w 10977"/>
                <a:gd name="connsiteY2" fmla="*/ 0 h 14565"/>
                <a:gd name="connsiteX3" fmla="*/ 9190 w 10977"/>
                <a:gd name="connsiteY3" fmla="*/ 13223 h 14565"/>
                <a:gd name="connsiteX4" fmla="*/ 0 w 10977"/>
                <a:gd name="connsiteY4" fmla="*/ 14565 h 14565"/>
                <a:gd name="connsiteX0" fmla="*/ 0 w 10872"/>
                <a:gd name="connsiteY0" fmla="*/ 14850 h 14850"/>
                <a:gd name="connsiteX1" fmla="*/ 2620 w 10872"/>
                <a:gd name="connsiteY1" fmla="*/ 1254 h 14850"/>
                <a:gd name="connsiteX2" fmla="*/ 10872 w 10872"/>
                <a:gd name="connsiteY2" fmla="*/ 0 h 14850"/>
                <a:gd name="connsiteX3" fmla="*/ 9085 w 10872"/>
                <a:gd name="connsiteY3" fmla="*/ 13223 h 14850"/>
                <a:gd name="connsiteX4" fmla="*/ 0 w 10872"/>
                <a:gd name="connsiteY4" fmla="*/ 14850 h 14850"/>
                <a:gd name="connsiteX0" fmla="*/ 0 w 10967"/>
                <a:gd name="connsiteY0" fmla="*/ 14731 h 14731"/>
                <a:gd name="connsiteX1" fmla="*/ 2715 w 10967"/>
                <a:gd name="connsiteY1" fmla="*/ 1254 h 14731"/>
                <a:gd name="connsiteX2" fmla="*/ 10967 w 10967"/>
                <a:gd name="connsiteY2" fmla="*/ 0 h 14731"/>
                <a:gd name="connsiteX3" fmla="*/ 9180 w 10967"/>
                <a:gd name="connsiteY3" fmla="*/ 13223 h 14731"/>
                <a:gd name="connsiteX4" fmla="*/ 0 w 10967"/>
                <a:gd name="connsiteY4" fmla="*/ 14731 h 14731"/>
                <a:gd name="connsiteX0" fmla="*/ 0 w 10967"/>
                <a:gd name="connsiteY0" fmla="*/ 14731 h 14731"/>
                <a:gd name="connsiteX1" fmla="*/ 2715 w 10967"/>
                <a:gd name="connsiteY1" fmla="*/ 1254 h 14731"/>
                <a:gd name="connsiteX2" fmla="*/ 10967 w 10967"/>
                <a:gd name="connsiteY2" fmla="*/ 0 h 14731"/>
                <a:gd name="connsiteX3" fmla="*/ 9180 w 10967"/>
                <a:gd name="connsiteY3" fmla="*/ 13223 h 14731"/>
                <a:gd name="connsiteX4" fmla="*/ 0 w 10967"/>
                <a:gd name="connsiteY4" fmla="*/ 14731 h 14731"/>
                <a:gd name="connsiteX0" fmla="*/ 0 w 10967"/>
                <a:gd name="connsiteY0" fmla="*/ 14731 h 14731"/>
                <a:gd name="connsiteX1" fmla="*/ 2715 w 10967"/>
                <a:gd name="connsiteY1" fmla="*/ 1254 h 14731"/>
                <a:gd name="connsiteX2" fmla="*/ 10967 w 10967"/>
                <a:gd name="connsiteY2" fmla="*/ 0 h 14731"/>
                <a:gd name="connsiteX3" fmla="*/ 9287 w 10967"/>
                <a:gd name="connsiteY3" fmla="*/ 13373 h 14731"/>
                <a:gd name="connsiteX4" fmla="*/ 0 w 10967"/>
                <a:gd name="connsiteY4" fmla="*/ 14731 h 14731"/>
                <a:gd name="connsiteX0" fmla="*/ 0 w 10920"/>
                <a:gd name="connsiteY0" fmla="*/ 14857 h 14857"/>
                <a:gd name="connsiteX1" fmla="*/ 2668 w 10920"/>
                <a:gd name="connsiteY1" fmla="*/ 1254 h 14857"/>
                <a:gd name="connsiteX2" fmla="*/ 10920 w 10920"/>
                <a:gd name="connsiteY2" fmla="*/ 0 h 14857"/>
                <a:gd name="connsiteX3" fmla="*/ 9240 w 10920"/>
                <a:gd name="connsiteY3" fmla="*/ 13373 h 14857"/>
                <a:gd name="connsiteX4" fmla="*/ 0 w 10920"/>
                <a:gd name="connsiteY4" fmla="*/ 14857 h 1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20" h="14857">
                  <a:moveTo>
                    <a:pt x="0" y="14857"/>
                  </a:moveTo>
                  <a:lnTo>
                    <a:pt x="2668" y="1254"/>
                  </a:lnTo>
                  <a:lnTo>
                    <a:pt x="10920" y="0"/>
                  </a:lnTo>
                  <a:lnTo>
                    <a:pt x="9240" y="13373"/>
                  </a:lnTo>
                  <a:lnTo>
                    <a:pt x="0" y="14857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>
                <a:solidFill>
                  <a:srgbClr val="404040"/>
                </a:solidFill>
              </a:endParaRPr>
            </a:p>
          </p:txBody>
        </p:sp>
        <p:sp>
          <p:nvSpPr>
            <p:cNvPr id="61" name="Flussdiagramm: Daten 2">
              <a:extLst>
                <a:ext uri="{FF2B5EF4-FFF2-40B4-BE49-F238E27FC236}">
                  <a16:creationId xmlns:a16="http://schemas.microsoft.com/office/drawing/2014/main" id="{CB69E619-1B36-422A-A8CA-FC26AFEB1D15}"/>
                </a:ext>
              </a:extLst>
            </p:cNvPr>
            <p:cNvSpPr/>
            <p:nvPr/>
          </p:nvSpPr>
          <p:spPr bwMode="auto">
            <a:xfrm rot="813781">
              <a:off x="7648404" y="1093027"/>
              <a:ext cx="178018" cy="387498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592"/>
                <a:gd name="connsiteY0" fmla="*/ 11377 h 11377"/>
                <a:gd name="connsiteX1" fmla="*/ 2000 w 10592"/>
                <a:gd name="connsiteY1" fmla="*/ 1377 h 11377"/>
                <a:gd name="connsiteX2" fmla="*/ 10592 w 10592"/>
                <a:gd name="connsiteY2" fmla="*/ 0 h 11377"/>
                <a:gd name="connsiteX3" fmla="*/ 8000 w 10592"/>
                <a:gd name="connsiteY3" fmla="*/ 11377 h 11377"/>
                <a:gd name="connsiteX4" fmla="*/ 0 w 10592"/>
                <a:gd name="connsiteY4" fmla="*/ 11377 h 11377"/>
                <a:gd name="connsiteX0" fmla="*/ 0 w 10592"/>
                <a:gd name="connsiteY0" fmla="*/ 11377 h 11377"/>
                <a:gd name="connsiteX1" fmla="*/ 2215 w 10592"/>
                <a:gd name="connsiteY1" fmla="*/ 916 h 11377"/>
                <a:gd name="connsiteX2" fmla="*/ 10592 w 10592"/>
                <a:gd name="connsiteY2" fmla="*/ 0 h 11377"/>
                <a:gd name="connsiteX3" fmla="*/ 8000 w 10592"/>
                <a:gd name="connsiteY3" fmla="*/ 11377 h 11377"/>
                <a:gd name="connsiteX4" fmla="*/ 0 w 10592"/>
                <a:gd name="connsiteY4" fmla="*/ 11377 h 11377"/>
                <a:gd name="connsiteX0" fmla="*/ 0 w 10910"/>
                <a:gd name="connsiteY0" fmla="*/ 11850 h 11850"/>
                <a:gd name="connsiteX1" fmla="*/ 2533 w 10910"/>
                <a:gd name="connsiteY1" fmla="*/ 916 h 11850"/>
                <a:gd name="connsiteX2" fmla="*/ 10910 w 10910"/>
                <a:gd name="connsiteY2" fmla="*/ 0 h 11850"/>
                <a:gd name="connsiteX3" fmla="*/ 8318 w 10910"/>
                <a:gd name="connsiteY3" fmla="*/ 11377 h 11850"/>
                <a:gd name="connsiteX4" fmla="*/ 0 w 10910"/>
                <a:gd name="connsiteY4" fmla="*/ 11850 h 11850"/>
                <a:gd name="connsiteX0" fmla="*/ 0 w 10910"/>
                <a:gd name="connsiteY0" fmla="*/ 11850 h 11850"/>
                <a:gd name="connsiteX1" fmla="*/ 2533 w 10910"/>
                <a:gd name="connsiteY1" fmla="*/ 916 h 11850"/>
                <a:gd name="connsiteX2" fmla="*/ 10910 w 10910"/>
                <a:gd name="connsiteY2" fmla="*/ 0 h 11850"/>
                <a:gd name="connsiteX3" fmla="*/ 8456 w 10910"/>
                <a:gd name="connsiteY3" fmla="*/ 10871 h 11850"/>
                <a:gd name="connsiteX4" fmla="*/ 0 w 10910"/>
                <a:gd name="connsiteY4" fmla="*/ 11850 h 11850"/>
                <a:gd name="connsiteX0" fmla="*/ 0 w 11144"/>
                <a:gd name="connsiteY0" fmla="*/ 11932 h 11932"/>
                <a:gd name="connsiteX1" fmla="*/ 2767 w 11144"/>
                <a:gd name="connsiteY1" fmla="*/ 916 h 11932"/>
                <a:gd name="connsiteX2" fmla="*/ 11144 w 11144"/>
                <a:gd name="connsiteY2" fmla="*/ 0 h 11932"/>
                <a:gd name="connsiteX3" fmla="*/ 8690 w 11144"/>
                <a:gd name="connsiteY3" fmla="*/ 10871 h 11932"/>
                <a:gd name="connsiteX4" fmla="*/ 0 w 11144"/>
                <a:gd name="connsiteY4" fmla="*/ 11932 h 11932"/>
                <a:gd name="connsiteX0" fmla="*/ 0 w 11146"/>
                <a:gd name="connsiteY0" fmla="*/ 12041 h 12041"/>
                <a:gd name="connsiteX1" fmla="*/ 2767 w 11146"/>
                <a:gd name="connsiteY1" fmla="*/ 1025 h 12041"/>
                <a:gd name="connsiteX2" fmla="*/ 11146 w 11146"/>
                <a:gd name="connsiteY2" fmla="*/ 0 h 12041"/>
                <a:gd name="connsiteX3" fmla="*/ 8690 w 11146"/>
                <a:gd name="connsiteY3" fmla="*/ 10980 h 12041"/>
                <a:gd name="connsiteX4" fmla="*/ 0 w 11146"/>
                <a:gd name="connsiteY4" fmla="*/ 12041 h 12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46" h="12041">
                  <a:moveTo>
                    <a:pt x="0" y="12041"/>
                  </a:moveTo>
                  <a:lnTo>
                    <a:pt x="2767" y="1025"/>
                  </a:lnTo>
                  <a:lnTo>
                    <a:pt x="11146" y="0"/>
                  </a:lnTo>
                  <a:lnTo>
                    <a:pt x="8690" y="10980"/>
                  </a:lnTo>
                  <a:lnTo>
                    <a:pt x="0" y="1204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>
                <a:solidFill>
                  <a:srgbClr val="404040"/>
                </a:solidFill>
              </a:endParaRPr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C269205E-B5C7-4974-930B-63678C65F02F}"/>
                </a:ext>
              </a:extLst>
            </p:cNvPr>
            <p:cNvSpPr/>
            <p:nvPr/>
          </p:nvSpPr>
          <p:spPr bwMode="auto">
            <a:xfrm>
              <a:off x="7934194" y="1364857"/>
              <a:ext cx="162602" cy="9010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de-DE">
                <a:solidFill>
                  <a:srgbClr val="404040"/>
                </a:solidFill>
              </a:endParaRPr>
            </a:p>
          </p:txBody>
        </p:sp>
        <p:sp>
          <p:nvSpPr>
            <p:cNvPr id="63" name="Text Box 313">
              <a:extLst>
                <a:ext uri="{FF2B5EF4-FFF2-40B4-BE49-F238E27FC236}">
                  <a16:creationId xmlns:a16="http://schemas.microsoft.com/office/drawing/2014/main" id="{5F3B73A0-3D34-4E8D-BB19-9157E696071B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846154" y="1122322"/>
              <a:ext cx="1366327" cy="2130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de-DE" sz="1400" dirty="0">
                  <a:solidFill>
                    <a:srgbClr val="FFFFFF"/>
                  </a:solidFill>
                  <a:latin typeface="+mn-lt"/>
                </a:rPr>
                <a:t>Back </a:t>
              </a:r>
              <a:r>
                <a:rPr lang="de-DE" sz="1400" dirty="0" err="1">
                  <a:solidFill>
                    <a:srgbClr val="FFFFFF"/>
                  </a:solidFill>
                  <a:latin typeface="+mn-lt"/>
                </a:rPr>
                <a:t>up</a:t>
              </a:r>
              <a:endParaRPr lang="de-DE" sz="1400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67" name="Freeform 16">
            <a:extLst>
              <a:ext uri="{FF2B5EF4-FFF2-40B4-BE49-F238E27FC236}">
                <a16:creationId xmlns:a16="http://schemas.microsoft.com/office/drawing/2014/main" id="{09CCE520-DE00-45EF-BA5C-249704BB2472}"/>
              </a:ext>
            </a:extLst>
          </p:cNvPr>
          <p:cNvSpPr>
            <a:spLocks/>
          </p:cNvSpPr>
          <p:nvPr/>
        </p:nvSpPr>
        <p:spPr bwMode="auto">
          <a:xfrm flipH="1" flipV="1">
            <a:off x="293687" y="9468095"/>
            <a:ext cx="252348" cy="272311"/>
          </a:xfrm>
          <a:custGeom>
            <a:avLst/>
            <a:gdLst>
              <a:gd name="T0" fmla="*/ 209 w 209"/>
              <a:gd name="T1" fmla="*/ 70 h 225"/>
              <a:gd name="T2" fmla="*/ 140 w 209"/>
              <a:gd name="T3" fmla="*/ 0 h 225"/>
              <a:gd name="T4" fmla="*/ 0 w 209"/>
              <a:gd name="T5" fmla="*/ 0 h 225"/>
              <a:gd name="T6" fmla="*/ 35 w 209"/>
              <a:gd name="T7" fmla="*/ 54 h 225"/>
              <a:gd name="T8" fmla="*/ 72 w 209"/>
              <a:gd name="T9" fmla="*/ 54 h 225"/>
              <a:gd name="T10" fmla="*/ 140 w 209"/>
              <a:gd name="T11" fmla="*/ 54 h 225"/>
              <a:gd name="T12" fmla="*/ 155 w 209"/>
              <a:gd name="T13" fmla="*/ 69 h 225"/>
              <a:gd name="T14" fmla="*/ 154 w 209"/>
              <a:gd name="T15" fmla="*/ 75 h 225"/>
              <a:gd name="T16" fmla="*/ 154 w 209"/>
              <a:gd name="T17" fmla="*/ 75 h 225"/>
              <a:gd name="T18" fmla="*/ 112 w 209"/>
              <a:gd name="T19" fmla="*/ 171 h 225"/>
              <a:gd name="T20" fmla="*/ 147 w 209"/>
              <a:gd name="T21" fmla="*/ 225 h 225"/>
              <a:gd name="T22" fmla="*/ 204 w 209"/>
              <a:gd name="T23" fmla="*/ 96 h 225"/>
              <a:gd name="T24" fmla="*/ 209 w 209"/>
              <a:gd name="T25" fmla="*/ 7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9" h="225">
                <a:moveTo>
                  <a:pt x="209" y="70"/>
                </a:moveTo>
                <a:cubicBezTo>
                  <a:pt x="209" y="31"/>
                  <a:pt x="178" y="0"/>
                  <a:pt x="140" y="0"/>
                </a:cubicBezTo>
                <a:cubicBezTo>
                  <a:pt x="0" y="0"/>
                  <a:pt x="0" y="0"/>
                  <a:pt x="0" y="0"/>
                </a:cubicBezTo>
                <a:cubicBezTo>
                  <a:pt x="35" y="54"/>
                  <a:pt x="35" y="54"/>
                  <a:pt x="35" y="54"/>
                </a:cubicBezTo>
                <a:cubicBezTo>
                  <a:pt x="72" y="54"/>
                  <a:pt x="72" y="54"/>
                  <a:pt x="72" y="54"/>
                </a:cubicBezTo>
                <a:cubicBezTo>
                  <a:pt x="72" y="54"/>
                  <a:pt x="140" y="54"/>
                  <a:pt x="140" y="54"/>
                </a:cubicBezTo>
                <a:cubicBezTo>
                  <a:pt x="149" y="54"/>
                  <a:pt x="155" y="61"/>
                  <a:pt x="155" y="69"/>
                </a:cubicBezTo>
                <a:cubicBezTo>
                  <a:pt x="155" y="71"/>
                  <a:pt x="155" y="73"/>
                  <a:pt x="154" y="75"/>
                </a:cubicBezTo>
                <a:cubicBezTo>
                  <a:pt x="154" y="75"/>
                  <a:pt x="154" y="75"/>
                  <a:pt x="154" y="75"/>
                </a:cubicBezTo>
                <a:cubicBezTo>
                  <a:pt x="112" y="171"/>
                  <a:pt x="112" y="171"/>
                  <a:pt x="112" y="171"/>
                </a:cubicBezTo>
                <a:cubicBezTo>
                  <a:pt x="147" y="225"/>
                  <a:pt x="147" y="225"/>
                  <a:pt x="147" y="225"/>
                </a:cubicBezTo>
                <a:cubicBezTo>
                  <a:pt x="204" y="96"/>
                  <a:pt x="204" y="96"/>
                  <a:pt x="204" y="96"/>
                </a:cubicBezTo>
                <a:cubicBezTo>
                  <a:pt x="208" y="87"/>
                  <a:pt x="209" y="79"/>
                  <a:pt x="209" y="7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28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0" r:id="rId4"/>
    <p:sldLayoutId id="2147483653" r:id="rId5"/>
    <p:sldLayoutId id="2147483654" r:id="rId6"/>
    <p:sldLayoutId id="2147483655" r:id="rId7"/>
    <p:sldLayoutId id="2147483659" r:id="rId8"/>
    <p:sldLayoutId id="2147483656" r:id="rId9"/>
    <p:sldLayoutId id="2147483657" r:id="rId10"/>
    <p:sldLayoutId id="2147483658" r:id="rId11"/>
    <p:sldLayoutId id="2147483660" r:id="rId12"/>
    <p:sldLayoutId id="2147483661" r:id="rId13"/>
    <p:sldLayoutId id="2147483662" r:id="rId1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600"/>
        </a:spcBef>
        <a:spcAft>
          <a:spcPts val="0"/>
        </a:spcAft>
        <a:buClr>
          <a:schemeClr val="accent1"/>
        </a:buClr>
        <a:buFont typeface="Calibri" panose="020F05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2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microsoft.com/office/2007/relationships/hdphoto" Target="../media/hdphoto1.wdp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Menschliches Gesicht, Person, Kleidung, Lächeln enthält.&#10;&#10;KI-generierte Inhalte können fehlerhaft sein.">
            <a:extLst>
              <a:ext uri="{FF2B5EF4-FFF2-40B4-BE49-F238E27FC236}">
                <a16:creationId xmlns:a16="http://schemas.microsoft.com/office/drawing/2014/main" id="{14B4C144-6B44-8576-0336-46622271AA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90" y="5970571"/>
            <a:ext cx="1183793" cy="118379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screen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4493" y="4522763"/>
            <a:ext cx="4847120" cy="52088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 bwMode="gray">
          <a:xfrm>
            <a:off x="289442" y="442416"/>
            <a:ext cx="4930994" cy="1066959"/>
          </a:xfrm>
        </p:spPr>
        <p:txBody>
          <a:bodyPr/>
          <a:lstStyle/>
          <a:p>
            <a:r>
              <a:rPr lang="de-DE" sz="32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FACT SHEET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4294967295"/>
          </p:nvPr>
        </p:nvSpPr>
        <p:spPr bwMode="gray">
          <a:xfrm>
            <a:off x="237502" y="5598478"/>
            <a:ext cx="6274306" cy="233351"/>
          </a:xfrm>
          <a:ln w="6350">
            <a:noFill/>
          </a:ln>
        </p:spPr>
        <p:txBody>
          <a:bodyPr/>
          <a:lstStyle/>
          <a:p>
            <a:r>
              <a:rPr lang="de-DE" sz="1400" b="0" dirty="0">
                <a:latin typeface="Daxline SC Offc Pro" panose="020B0504020101020102" pitchFamily="34" charset="0"/>
                <a:cs typeface="Daxline SC Offc Pro" panose="020B0504020101020102" pitchFamily="34" charset="0"/>
              </a:rPr>
              <a:t> MANAGING PARTNER</a:t>
            </a:r>
          </a:p>
          <a:p>
            <a:endParaRPr lang="de-DE" sz="1400" b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4294967295"/>
          </p:nvPr>
        </p:nvSpPr>
        <p:spPr bwMode="gray">
          <a:xfrm>
            <a:off x="3452601" y="3247439"/>
            <a:ext cx="3052337" cy="274369"/>
          </a:xfrm>
          <a:ln w="6350">
            <a:noFill/>
          </a:ln>
        </p:spPr>
        <p:txBody>
          <a:bodyPr/>
          <a:lstStyle/>
          <a:p>
            <a:r>
              <a:rPr lang="de-DE" sz="1400" b="0" dirty="0">
                <a:latin typeface="Daxline SC Offc Pro" panose="020B0504020101020102" pitchFamily="34" charset="0"/>
                <a:cs typeface="Daxline SC Offc Pro" panose="020B0504020101020102" pitchFamily="34" charset="0"/>
              </a:rPr>
              <a:t> ZUKUNFT VERSTEHEN</a:t>
            </a:r>
            <a:br>
              <a:rPr lang="de-DE" sz="1400" b="0" dirty="0">
                <a:latin typeface="Daxline SC Offc Pro" panose="020B0504020101020102" pitchFamily="34" charset="0"/>
                <a:cs typeface="Daxline SC Offc Pro" panose="020B0504020101020102" pitchFamily="34" charset="0"/>
              </a:rPr>
            </a:br>
            <a:endParaRPr lang="de-DE" sz="1400" b="0" dirty="0">
              <a:solidFill>
                <a:schemeClr val="tx1"/>
              </a:solidFill>
              <a:latin typeface="Daxline Offc Pro Medium" panose="020B0604020101020102" pitchFamily="34" charset="0"/>
              <a:cs typeface="Daxline Offc Pro" panose="020B0504020101020102" pitchFamily="34" charset="0"/>
            </a:endParaRP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4294967295"/>
          </p:nvPr>
        </p:nvSpPr>
        <p:spPr bwMode="gray">
          <a:xfrm>
            <a:off x="259800" y="1175339"/>
            <a:ext cx="3071007" cy="253596"/>
          </a:xfrm>
          <a:ln w="6350">
            <a:noFill/>
          </a:ln>
        </p:spPr>
        <p:txBody>
          <a:bodyPr/>
          <a:lstStyle>
            <a:lvl1pPr>
              <a:spcBef>
                <a:spcPts val="300"/>
              </a:spcBef>
              <a:defRPr baseline="0">
                <a:latin typeface="Daxline SC Offc Pro" panose="020B0504020101020102" pitchFamily="34" charset="0"/>
                <a:cs typeface="Daxline SC Offc Pro" panose="020B0504020101020102" pitchFamily="34" charset="0"/>
              </a:defRPr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r>
              <a:rPr lang="de-DE" sz="1400" b="0" dirty="0"/>
              <a:t> UMFASSEND BERATEN</a:t>
            </a:r>
            <a:endParaRPr lang="de-DE" sz="1400" b="0" dirty="0">
              <a:solidFill>
                <a:schemeClr val="tx1"/>
              </a:solidFill>
              <a:latin typeface="Daxline Offc Pro Medium" panose="020B0604020101020102" pitchFamily="34" charset="0"/>
              <a:cs typeface="Daxline Offc Pro" panose="020B0504020101020102" pitchFamily="34" charset="0"/>
            </a:endParaRPr>
          </a:p>
          <a:p>
            <a:pPr lvl="0"/>
            <a:endParaRPr lang="de-DE" sz="1400" b="0" dirty="0"/>
          </a:p>
          <a:p>
            <a:pPr lvl="0"/>
            <a:endParaRPr lang="de-DE" sz="1400" b="0" dirty="0"/>
          </a:p>
        </p:txBody>
      </p:sp>
      <p:sp>
        <p:nvSpPr>
          <p:cNvPr id="14" name="Textfeld 13"/>
          <p:cNvSpPr txBox="1"/>
          <p:nvPr/>
        </p:nvSpPr>
        <p:spPr>
          <a:xfrm>
            <a:off x="632039" y="9593110"/>
            <a:ext cx="30376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latin typeface="Daxline Offc Pro" panose="020B0504020101020102" pitchFamily="34" charset="0"/>
                <a:cs typeface="Daxline Offc Pro" panose="020B0504020101020102" pitchFamily="34" charset="0"/>
              </a:rPr>
              <a:t>info</a:t>
            </a:r>
            <a:r>
              <a:rPr lang="de-DE" sz="9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@</a:t>
            </a:r>
            <a:r>
              <a:rPr lang="de-DE" sz="900" dirty="0">
                <a:latin typeface="Daxline Offc Pro" panose="020B0504020101020102" pitchFamily="34" charset="0"/>
                <a:cs typeface="Daxline Offc Pro" panose="020B0504020101020102" pitchFamily="34" charset="0"/>
              </a:rPr>
              <a:t>lurse.de</a:t>
            </a:r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 </a:t>
            </a:r>
            <a:r>
              <a:rPr lang="de-DE" sz="9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/</a:t>
            </a:r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 www.lurse.d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4294967295"/>
          </p:nvPr>
        </p:nvSpPr>
        <p:spPr bwMode="gray">
          <a:xfrm>
            <a:off x="257509" y="7835807"/>
            <a:ext cx="6273859" cy="268856"/>
          </a:xfrm>
          <a:ln w="6350">
            <a:noFill/>
          </a:ln>
        </p:spPr>
        <p:txBody>
          <a:bodyPr/>
          <a:lstStyle>
            <a:lvl1pPr>
              <a:spcBef>
                <a:spcPts val="300"/>
              </a:spcBef>
              <a:defRPr lang="de-DE" sz="1800" b="1" kern="1200" baseline="0" dirty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marL="0" lv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400" b="0" dirty="0"/>
              <a:t> STANDORTE</a:t>
            </a:r>
          </a:p>
        </p:txBody>
      </p:sp>
      <p:sp>
        <p:nvSpPr>
          <p:cNvPr id="29" name="Textplatzhalter 7"/>
          <p:cNvSpPr txBox="1">
            <a:spLocks/>
          </p:cNvSpPr>
          <p:nvPr/>
        </p:nvSpPr>
        <p:spPr bwMode="gray">
          <a:xfrm>
            <a:off x="301683" y="1616075"/>
            <a:ext cx="3046356" cy="3548463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 anchor="t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Lurse ist ein führender HR- und bAV-Lösungsanbieter mit Fokus auf Compensation &amp; Benefits, Pensions und Talent. Das Unternehmen beschäftigt etwa 300 Mitarbeitende (Stand 09/2024) an den Standorten Düsseldorf, </a:t>
            </a:r>
            <a:br>
              <a:rPr lang="de-DE" sz="900" b="0" dirty="0"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Frankfurt/Main, Hannover, München, Paderborn und Baar (CH). Seit 1989 berät Lurse große und mittelständische Unternehmen aller Branchen bei der Gestaltung, Weiter-entwicklung und Harmonisierung von Vergütungs-, Benefits- und Performance-Management-Systemen. Die praxiserfahrenen </a:t>
            </a:r>
            <a:r>
              <a:rPr lang="de-DE" sz="900" b="0" dirty="0" err="1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Berater:innen</a:t>
            </a: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 des Unternehmens stellen als </a:t>
            </a:r>
            <a:r>
              <a:rPr lang="de-DE" sz="900" b="0" dirty="0" err="1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Expert:innen</a:t>
            </a: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 und </a:t>
            </a:r>
            <a:r>
              <a:rPr lang="de-DE" sz="900" b="0" dirty="0" err="1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Moderator:innen</a:t>
            </a: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 die erfolgreiche Umsetzung von HR-Lösungen mit allen involvierten Parteien – inklusive Mitbestimmung – sicher. </a:t>
            </a:r>
          </a:p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Lurse verfügt darüber hinaus über qualifizierte, seit Jahr-zehnten gewachsene Benchmark-Informationen im Ver-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gütungs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- und 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Benefitsumfeld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. Umfassendes Know-how sowie eine hoch automatisierte Infrastruktur in der digitalen bAV-Administration und 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versicherungsmathema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-tischen Bewertung von bAV-Systemen vervollständigen</a:t>
            </a: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Mit dem Joint Venture MBWL International unterhält Lurse seit 2019 ein globales Netzwerk mit den Partnerunter-nehmen 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Milliman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und Barnett 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Waddingham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. International agierenden Unternehmen macht dieser Zusammenschluss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156918" y="8216429"/>
            <a:ext cx="1203494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FRANKFURT/MAIN</a:t>
            </a:r>
            <a:br>
              <a:rPr lang="de-DE" sz="900" b="1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Walther-von-Cronberg-Platz 6</a:t>
            </a:r>
          </a:p>
          <a:p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60594 Frankfurt/Main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305916" y="8814253"/>
            <a:ext cx="677365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HANNOVER</a:t>
            </a:r>
            <a:br>
              <a:rPr lang="de-DE" sz="900" b="1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Heiligerstraße</a:t>
            </a: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2</a:t>
            </a:r>
            <a:b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30159 Hannover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2157772" y="8814253"/>
            <a:ext cx="931443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PADERBORN</a:t>
            </a:r>
            <a:br>
              <a:rPr lang="de-DE" sz="900" b="1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Winkhauser</a:t>
            </a: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Straße 15</a:t>
            </a:r>
            <a:b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33154 Salzkotten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4129857" y="8216429"/>
            <a:ext cx="742322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MÜNCHEN</a:t>
            </a:r>
            <a:br>
              <a:rPr lang="de-DE" sz="900" b="1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Leopoldstraße 81</a:t>
            </a:r>
          </a:p>
          <a:p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80802 München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4123512" y="8812777"/>
            <a:ext cx="730335" cy="3539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Baar (CH)</a:t>
            </a:r>
          </a:p>
          <a:p>
            <a:r>
              <a:rPr lang="de-DE" sz="70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Zugerstraße</a:t>
            </a: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77</a:t>
            </a:r>
            <a:b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CH-6340 Baar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314056" y="7209763"/>
            <a:ext cx="1192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NORMAN DREGER</a:t>
            </a:r>
            <a:br>
              <a:rPr lang="de-DE" sz="8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norman.dreger</a:t>
            </a:r>
            <a:r>
              <a:rPr lang="de-DE" sz="700" dirty="0">
                <a:solidFill>
                  <a:schemeClr val="accent1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@</a:t>
            </a: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lurse.de 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305916" y="8216429"/>
            <a:ext cx="90403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DÜSSELDORF</a:t>
            </a:r>
            <a:br>
              <a:rPr lang="de-DE" sz="900" b="1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Speditionstraße</a:t>
            </a: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1</a:t>
            </a:r>
            <a:b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40221 Düsseldorf</a:t>
            </a:r>
            <a:br>
              <a:rPr lang="de-DE" sz="70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endParaRPr lang="de-DE" sz="700" dirty="0">
              <a:solidFill>
                <a:srgbClr val="7D7D7D"/>
              </a:solidFill>
              <a:latin typeface="Daxline Offc Pro" panose="020B0504020101020102" pitchFamily="34" charset="0"/>
              <a:cs typeface="Daxline Offc Pro" panose="020B0504020101020102" pitchFamily="34" charset="0"/>
            </a:endParaRPr>
          </a:p>
        </p:txBody>
      </p:sp>
      <p:sp>
        <p:nvSpPr>
          <p:cNvPr id="24" name="Textplatzhalter 7"/>
          <p:cNvSpPr txBox="1">
            <a:spLocks/>
          </p:cNvSpPr>
          <p:nvPr/>
        </p:nvSpPr>
        <p:spPr bwMode="gray">
          <a:xfrm>
            <a:off x="3511238" y="1616075"/>
            <a:ext cx="3046356" cy="3647688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900" b="0" dirty="0">
              <a:solidFill>
                <a:srgbClr val="7D7D7D"/>
              </a:solidFill>
              <a:latin typeface="Daxline Offc Pro Medium" panose="020B0604020101020102" pitchFamily="34" charset="0"/>
              <a:cs typeface="Daxline Offc Pro" panose="020B0504020101020102" pitchFamily="34" charset="0"/>
            </a:endParaRPr>
          </a:p>
        </p:txBody>
      </p:sp>
      <p:sp>
        <p:nvSpPr>
          <p:cNvPr id="30" name="Textplatzhalter 7"/>
          <p:cNvSpPr txBox="1">
            <a:spLocks/>
          </p:cNvSpPr>
          <p:nvPr/>
        </p:nvSpPr>
        <p:spPr bwMode="gray">
          <a:xfrm>
            <a:off x="3505257" y="1616074"/>
            <a:ext cx="3046356" cy="1176197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 anchor="t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das gesamte Spektrum an weltweit angebotenen Renten- und Vorsorgeleistungen einfach zugänglich. Zudem ist </a:t>
            </a:r>
            <a:r>
              <a:rPr lang="de-DE" sz="900" b="0" dirty="0" err="1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Lurse</a:t>
            </a: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 Mitglied des international agierenden Netzwerks für Brokerage und Consulting WBN (Worldwide Broker Network™). Damit ist das Beratungshaus Teil von 109 Mitgliedern in 101 Ländern in dem größten Netzwerk unabhängiger Benefits-Beratungsunternehmen und Ver-</a:t>
            </a:r>
            <a:r>
              <a:rPr lang="de-DE" sz="900" b="0" dirty="0" err="1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sicherungsmakler</a:t>
            </a:r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. </a:t>
            </a:r>
          </a:p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/>
                <a:cs typeface="Daxline Offc Pro" panose="020B0504020101020102" pitchFamily="34" charset="0"/>
              </a:rPr>
              <a:t>Lurse nimmt die Datenhaltung und -verarbeitung in der EU/im EWR vor und ist nach ISO 27001 zertifiziert.</a:t>
            </a:r>
          </a:p>
        </p:txBody>
      </p:sp>
      <p:sp>
        <p:nvSpPr>
          <p:cNvPr id="32" name="Textplatzhalter 7"/>
          <p:cNvSpPr txBox="1">
            <a:spLocks/>
          </p:cNvSpPr>
          <p:nvPr/>
        </p:nvSpPr>
        <p:spPr bwMode="gray">
          <a:xfrm>
            <a:off x="3511238" y="3540359"/>
            <a:ext cx="3046356" cy="1481328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Digitalisierung, Agilität, aber auch Selbstbestimmung und</a:t>
            </a: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Work-Life-Balance prägen die heutige Arbeitswelt. Auf-fällig viele Instrumente und Systeme werden hinterfragt und verändert. Lurse begleitet Kundinnen und Kunden bei Veränderungs- und Harmonisierungsprozessen und zeigt ihnen innovative Wege in diese neue Welt.</a:t>
            </a:r>
          </a:p>
          <a:p>
            <a:pPr algn="just"/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Dafür entwickelt Lurse auf die Kundenbedürfnisse </a:t>
            </a:r>
            <a:r>
              <a:rPr lang="de-DE" sz="900" b="0" dirty="0" err="1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zuge-schnittene</a:t>
            </a:r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 Strategien sowie wirksame Instrumente und hilft, diese umzusetzen. Die Kombination aus strategischer Beratung und Umsetzungsstärke durch Erfahrung schafft </a:t>
            </a: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endParaRPr lang="de-DE" sz="900" b="0" dirty="0">
              <a:solidFill>
                <a:srgbClr val="7D7D7D"/>
              </a:solidFill>
              <a:latin typeface="Daxline Offc Pro" panose="020B0504020101020102" pitchFamily="34" charset="0"/>
              <a:cs typeface="Daxline Offc Pro" panose="020B0504020101020102" pitchFamily="34" charset="0"/>
            </a:endParaRPr>
          </a:p>
        </p:txBody>
      </p:sp>
      <p:sp>
        <p:nvSpPr>
          <p:cNvPr id="40" name="Textplatzhalter 7"/>
          <p:cNvSpPr txBox="1">
            <a:spLocks/>
          </p:cNvSpPr>
          <p:nvPr/>
        </p:nvSpPr>
        <p:spPr bwMode="gray">
          <a:xfrm>
            <a:off x="3511238" y="4985322"/>
            <a:ext cx="3046356" cy="156420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Lösungen, die überzeugen.</a:t>
            </a:r>
            <a:b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</a:br>
            <a:endParaRPr lang="de-DE" sz="900" b="0" dirty="0">
              <a:solidFill>
                <a:srgbClr val="7D7D7D"/>
              </a:solidFill>
              <a:latin typeface="Daxline Offc Pro" panose="020B0504020101020102" pitchFamily="34" charset="0"/>
              <a:cs typeface="Daxline Offc Pro" panose="020B0504020101020102" pitchFamily="34" charset="0"/>
            </a:endParaRPr>
          </a:p>
        </p:txBody>
      </p:sp>
      <p:sp>
        <p:nvSpPr>
          <p:cNvPr id="42" name="Textplatzhalter 7"/>
          <p:cNvSpPr txBox="1">
            <a:spLocks/>
          </p:cNvSpPr>
          <p:nvPr/>
        </p:nvSpPr>
        <p:spPr bwMode="gray">
          <a:xfrm>
            <a:off x="314056" y="4298528"/>
            <a:ext cx="3046356" cy="156420"/>
          </a:xfrm>
          <a:prstGeom prst="rect">
            <a:avLst/>
          </a:prstGeom>
          <a:ln w="6350">
            <a:noFill/>
          </a:ln>
        </p:spPr>
        <p:txBody>
          <a:bodyPr vert="horz" lIns="0" tIns="0" rIns="0" bIns="0" numCol="1" spcCol="288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b="1" kern="1200" baseline="0">
                <a:solidFill>
                  <a:schemeClr val="accent1"/>
                </a:solidFill>
                <a:latin typeface="Daxline SC Offc Pro" panose="020B0504020101020102" pitchFamily="34" charset="0"/>
                <a:ea typeface="+mn-ea"/>
                <a:cs typeface="Daxline SC Offc Pro" panose="020B0504020101020102" pitchFamily="34" charset="0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dirty="0">
                <a:solidFill>
                  <a:srgbClr val="7D7D7D"/>
                </a:solidFill>
                <a:latin typeface="Daxline Offc Pro" panose="020B0504020101020102" pitchFamily="34" charset="0"/>
                <a:cs typeface="Daxline Offc Pro" panose="020B0504020101020102" pitchFamily="34" charset="0"/>
              </a:rPr>
              <a:t>das Leistungsportfolio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558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9390516948427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8_06_26_Fact_sheet">
  <a:themeElements>
    <a:clrScheme name="Lurse">
      <a:dk1>
        <a:srgbClr val="646569"/>
      </a:dk1>
      <a:lt1>
        <a:srgbClr val="FFFFFF"/>
      </a:lt1>
      <a:dk2>
        <a:srgbClr val="646569"/>
      </a:dk2>
      <a:lt2>
        <a:srgbClr val="D3D3D3"/>
      </a:lt2>
      <a:accent1>
        <a:srgbClr val="DCAA00"/>
      </a:accent1>
      <a:accent2>
        <a:srgbClr val="336666"/>
      </a:accent2>
      <a:accent3>
        <a:srgbClr val="6CA470"/>
      </a:accent3>
      <a:accent4>
        <a:srgbClr val="99CCCC"/>
      </a:accent4>
      <a:accent5>
        <a:srgbClr val="993333"/>
      </a:accent5>
      <a:accent6>
        <a:srgbClr val="D3D3D3"/>
      </a:accent6>
      <a:hlink>
        <a:srgbClr val="DCAA00"/>
      </a:hlink>
      <a:folHlink>
        <a:srgbClr val="DCAA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108000" tIns="72000" rIns="108000" bIns="72000" rtlCol="0" anchor="t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act_sheet.pptx" id="{86D23917-84A2-4614-ADC3-72204DB2F110}" vid="{454BA1B9-997D-4EC2-82C1-E0B7517E9B6C}"/>
    </a:ext>
  </a:extLst>
</a:theme>
</file>

<file path=ppt/theme/theme2.xml><?xml version="1.0" encoding="utf-8"?>
<a:theme xmlns:a="http://schemas.openxmlformats.org/drawingml/2006/main" name="Larissa">
  <a:themeElements>
    <a:clrScheme name="Farben_Lurse">
      <a:dk1>
        <a:sysClr val="windowText" lastClr="000000"/>
      </a:dk1>
      <a:lt1>
        <a:sysClr val="window" lastClr="FFFFFF"/>
      </a:lt1>
      <a:dk2>
        <a:srgbClr val="5C5C5C"/>
      </a:dk2>
      <a:lt2>
        <a:srgbClr val="D3D3D3"/>
      </a:lt2>
      <a:accent1>
        <a:srgbClr val="BE9600"/>
      </a:accent1>
      <a:accent2>
        <a:srgbClr val="2A6B73"/>
      </a:accent2>
      <a:accent3>
        <a:srgbClr val="859D88"/>
      </a:accent3>
      <a:accent4>
        <a:srgbClr val="A3BECB"/>
      </a:accent4>
      <a:accent5>
        <a:srgbClr val="843A3C"/>
      </a:accent5>
      <a:accent6>
        <a:srgbClr val="5C5C5C"/>
      </a:accent6>
      <a:hlink>
        <a:srgbClr val="BE9600"/>
      </a:hlink>
      <a:folHlink>
        <a:srgbClr val="BE9600"/>
      </a:folHlink>
    </a:clrScheme>
    <a:fontScheme name="Schriften_Lurs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Farben_Lurse">
      <a:dk1>
        <a:sysClr val="windowText" lastClr="000000"/>
      </a:dk1>
      <a:lt1>
        <a:sysClr val="window" lastClr="FFFFFF"/>
      </a:lt1>
      <a:dk2>
        <a:srgbClr val="5C5C5C"/>
      </a:dk2>
      <a:lt2>
        <a:srgbClr val="D3D3D3"/>
      </a:lt2>
      <a:accent1>
        <a:srgbClr val="BE9600"/>
      </a:accent1>
      <a:accent2>
        <a:srgbClr val="2A6B73"/>
      </a:accent2>
      <a:accent3>
        <a:srgbClr val="859D88"/>
      </a:accent3>
      <a:accent4>
        <a:srgbClr val="A3BECB"/>
      </a:accent4>
      <a:accent5>
        <a:srgbClr val="843A3C"/>
      </a:accent5>
      <a:accent6>
        <a:srgbClr val="5C5C5C"/>
      </a:accent6>
      <a:hlink>
        <a:srgbClr val="BE9600"/>
      </a:hlink>
      <a:folHlink>
        <a:srgbClr val="BE9600"/>
      </a:folHlink>
    </a:clrScheme>
    <a:fontScheme name="Schriften_Lurs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29EF2F3C8CD5B489D2D3377A6632405" ma:contentTypeVersion="17" ma:contentTypeDescription="Ein neues Dokument erstellen." ma:contentTypeScope="" ma:versionID="a0131ab629a3ec85e947d5a59d8fe7c6">
  <xsd:schema xmlns:xsd="http://www.w3.org/2001/XMLSchema" xmlns:xs="http://www.w3.org/2001/XMLSchema" xmlns:p="http://schemas.microsoft.com/office/2006/metadata/properties" xmlns:ns2="f91ceec4-2020-4816-804f-3bba4e4e9a70" xmlns:ns3="227bee57-0d1b-4ccd-a9f0-bd98eb611464" targetNamespace="http://schemas.microsoft.com/office/2006/metadata/properties" ma:root="true" ma:fieldsID="6a741f0dad0fc01d518e499cf11d2b35" ns2:_="" ns3:_="">
    <xsd:import namespace="f91ceec4-2020-4816-804f-3bba4e4e9a70"/>
    <xsd:import namespace="227bee57-0d1b-4ccd-a9f0-bd98eb6114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TaxKeywordTaxHTField" minOccurs="0"/>
                <xsd:element ref="ns3:TaxCatchAll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1ceec4-2020-4816-804f-3bba4e4e9a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c7a55798-16f7-4e55-8012-d0acd00a05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7bee57-0d1b-4ccd-a9f0-bd98eb611464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5" nillable="true" ma:taxonomy="true" ma:internalName="TaxKeywordTaxHTField" ma:taxonomyFieldName="TaxKeyword" ma:displayName="Unternehmensstichwörter" ma:fieldId="{23f27201-bee3-471e-b2e7-b64fd8b7ca38}" ma:taxonomyMulti="true" ma:sspId="c7a55798-16f7-4e55-8012-d0acd00a05c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6" nillable="true" ma:displayName="Taxonomy Catch All Column" ma:hidden="true" ma:list="{08c92686-705d-4726-bb68-6ca6b390f806}" ma:internalName="TaxCatchAll" ma:showField="CatchAllData" ma:web="227bee57-0d1b-4ccd-a9f0-bd98eb6114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91ceec4-2020-4816-804f-3bba4e4e9a70">
      <Terms xmlns="http://schemas.microsoft.com/office/infopath/2007/PartnerControls"/>
    </lcf76f155ced4ddcb4097134ff3c332f>
    <TaxKeywordTaxHTField xmlns="227bee57-0d1b-4ccd-a9f0-bd98eb611464">
      <Terms xmlns="http://schemas.microsoft.com/office/infopath/2007/PartnerControls"/>
    </TaxKeywordTaxHTField>
    <TaxCatchAll xmlns="227bee57-0d1b-4ccd-a9f0-bd98eb611464" xsi:nil="true"/>
  </documentManagement>
</p:properties>
</file>

<file path=customXml/itemProps1.xml><?xml version="1.0" encoding="utf-8"?>
<ds:datastoreItem xmlns:ds="http://schemas.openxmlformats.org/officeDocument/2006/customXml" ds:itemID="{61E21815-067D-43AC-A026-ECEDCB8DF3F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4EEFC3-295D-4CB6-8693-B6BB9B2DF1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1ceec4-2020-4816-804f-3bba4e4e9a70"/>
    <ds:schemaRef ds:uri="227bee57-0d1b-4ccd-a9f0-bd98eb6114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9C37E47-3E9A-4C99-AA36-C479576780C5}">
  <ds:schemaRefs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f91ceec4-2020-4816-804f-3bba4e4e9a70"/>
    <ds:schemaRef ds:uri="227bee57-0d1b-4ccd-a9f0-bd98eb611464"/>
    <ds:schemaRef ds:uri="http://www.w3.org/XML/1998/namespace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def29f31-06b0-4cdb-876c-790f22d81f94}" enabled="0" method="" siteId="{def29f31-06b0-4cdb-876c-790f22d81f9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18_06_26_Fact_sheet</Template>
  <TotalTime>0</TotalTime>
  <Words>402</Words>
  <Application>Microsoft Office PowerPoint</Application>
  <PresentationFormat>A4-Papier (210 x 297 mm)</PresentationFormat>
  <Paragraphs>2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Arial Narrow</vt:lpstr>
      <vt:lpstr>Calibri</vt:lpstr>
      <vt:lpstr>Daxline Offc Pro</vt:lpstr>
      <vt:lpstr>Daxline Offc Pro Medium</vt:lpstr>
      <vt:lpstr>Daxline SC Offc Pro</vt:lpstr>
      <vt:lpstr>Wingdings</vt:lpstr>
      <vt:lpstr>2018_06_26_Fact_sheet</vt:lpstr>
      <vt:lpstr>think-cell Folie</vt:lpstr>
      <vt:lpstr>FACT SHE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T SHEET</dc:title>
  <dc:creator>Bruhn, Cathrin</dc:creator>
  <cp:lastModifiedBy>Graetz, Tammy</cp:lastModifiedBy>
  <cp:revision>62</cp:revision>
  <cp:lastPrinted>2019-07-24T09:58:27Z</cp:lastPrinted>
  <dcterms:created xsi:type="dcterms:W3CDTF">2019-06-05T09:38:26Z</dcterms:created>
  <dcterms:modified xsi:type="dcterms:W3CDTF">2025-07-01T14:1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lurse</vt:lpwstr>
  </property>
  <property fmtid="{D5CDD505-2E9C-101B-9397-08002B2CF9AE}" pid="3" name="TemplateId">
    <vt:lpwstr>637939051692432026</vt:lpwstr>
  </property>
  <property fmtid="{D5CDD505-2E9C-101B-9397-08002B2CF9AE}" pid="4" name="UserProfileId">
    <vt:lpwstr>638158668944884089</vt:lpwstr>
  </property>
  <property fmtid="{D5CDD505-2E9C-101B-9397-08002B2CF9AE}" pid="5" name="ContentTypeId">
    <vt:lpwstr>0x010100229EF2F3C8CD5B489D2D3377A6632405</vt:lpwstr>
  </property>
  <property fmtid="{D5CDD505-2E9C-101B-9397-08002B2CF9AE}" pid="6" name="TaxKeyword">
    <vt:lpwstr/>
  </property>
  <property fmtid="{D5CDD505-2E9C-101B-9397-08002B2CF9AE}" pid="7" name="MediaServiceImageTags">
    <vt:lpwstr/>
  </property>
</Properties>
</file>